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Default Extension="xlsb" ContentType="application/vnd.ms-excel.sheet.binary.macroEnabled.12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3" r:id="rId1"/>
  </p:sldMasterIdLst>
  <p:notesMasterIdLst>
    <p:notesMasterId r:id="rId27"/>
  </p:notesMasterIdLst>
  <p:handoutMasterIdLst>
    <p:handoutMasterId r:id="rId28"/>
  </p:handoutMasterIdLst>
  <p:sldIdLst>
    <p:sldId id="408" r:id="rId2"/>
    <p:sldId id="420" r:id="rId3"/>
    <p:sldId id="455" r:id="rId4"/>
    <p:sldId id="459" r:id="rId5"/>
    <p:sldId id="447" r:id="rId6"/>
    <p:sldId id="444" r:id="rId7"/>
    <p:sldId id="425" r:id="rId8"/>
    <p:sldId id="454" r:id="rId9"/>
    <p:sldId id="457" r:id="rId10"/>
    <p:sldId id="427" r:id="rId11"/>
    <p:sldId id="452" r:id="rId12"/>
    <p:sldId id="456" r:id="rId13"/>
    <p:sldId id="429" r:id="rId14"/>
    <p:sldId id="394" r:id="rId15"/>
    <p:sldId id="436" r:id="rId16"/>
    <p:sldId id="435" r:id="rId17"/>
    <p:sldId id="437" r:id="rId18"/>
    <p:sldId id="403" r:id="rId19"/>
    <p:sldId id="458" r:id="rId20"/>
    <p:sldId id="387" r:id="rId21"/>
    <p:sldId id="419" r:id="rId22"/>
    <p:sldId id="421" r:id="rId23"/>
    <p:sldId id="398" r:id="rId24"/>
    <p:sldId id="450" r:id="rId25"/>
    <p:sldId id="451" r:id="rId26"/>
  </p:sldIdLst>
  <p:sldSz cx="9144000" cy="5143500" type="screen16x9"/>
  <p:notesSz cx="6797675" cy="9926638"/>
  <p:custDataLst>
    <p:tags r:id="rId2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849" userDrawn="1">
          <p15:clr>
            <a:srgbClr val="A4A3A4"/>
          </p15:clr>
        </p15:guide>
        <p15:guide id="4" orient="horz" pos="821">
          <p15:clr>
            <a:srgbClr val="A4A3A4"/>
          </p15:clr>
        </p15:guide>
        <p15:guide id="5" orient="horz" pos="3049">
          <p15:clr>
            <a:srgbClr val="A4A3A4"/>
          </p15:clr>
        </p15:guide>
        <p15:guide id="6" orient="horz" pos="3162" userDrawn="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>
    <p:extLst>
      <p:ext uri="{19B8F6BF-5375-455C-9EA6-DF929625EA0E}">
        <p15:presenceInfo xmlns:p15="http://schemas.microsoft.com/office/powerpoint/2012/main" xmlns="" userId="Microsoft Office User" providerId="None"/>
      </p:ext>
    </p:extLst>
  </p:cmAuthor>
  <p:cmAuthor id="2" name="BOUILLON Pierre" initials="BP" lastIdx="1" clrIdx="1">
    <p:extLst>
      <p:ext uri="{19B8F6BF-5375-455C-9EA6-DF929625EA0E}">
        <p15:presenceInfo xmlns:p15="http://schemas.microsoft.com/office/powerpoint/2012/main" xmlns="" userId="S-1-5-21-2043104406-512064258-1538882281-2443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21215A"/>
    <a:srgbClr val="000091"/>
    <a:srgbClr val="FF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996" autoAdjust="0"/>
    <p:restoredTop sz="92245" autoAdjust="0"/>
  </p:normalViewPr>
  <p:slideViewPr>
    <p:cSldViewPr showGuides="1">
      <p:cViewPr varScale="1">
        <p:scale>
          <a:sx n="66" d="100"/>
          <a:sy n="66" d="100"/>
        </p:scale>
        <p:origin x="-114" y="-546"/>
      </p:cViewPr>
      <p:guideLst>
        <p:guide orient="horz" pos="1620"/>
        <p:guide orient="horz" pos="191"/>
        <p:guide orient="horz" pos="849"/>
        <p:guide orient="horz" pos="821"/>
        <p:guide orient="horz" pos="3049"/>
        <p:guide orient="horz" pos="3162"/>
        <p:guide pos="2880"/>
        <p:guide pos="476"/>
        <p:guide pos="5193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7" d="100"/>
          <a:sy n="97" d="100"/>
        </p:scale>
        <p:origin x="3688" y="208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binaire_Microsoft_Office_Excel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fr-FR"/>
  <c:chart>
    <c:plotArea>
      <c:layout>
        <c:manualLayout>
          <c:layoutTarget val="inner"/>
          <c:xMode val="edge"/>
          <c:yMode val="edge"/>
          <c:x val="1.040624374624775E-2"/>
          <c:y val="2.9082774049217004E-2"/>
          <c:w val="0.97918751250750458"/>
          <c:h val="0.94183445190156601"/>
        </c:manualLayout>
      </c:layout>
      <c:barChart>
        <c:barDir val="col"/>
        <c:grouping val="stacked"/>
        <c:ser>
          <c:idx val="0"/>
          <c:order val="0"/>
          <c:spPr>
            <a:noFill/>
            <a:ln>
              <a:noFill/>
            </a:ln>
          </c:spPr>
          <c:dPt>
            <c:idx val="0"/>
            <c:spPr>
              <a:solidFill>
                <a:srgbClr val="9DB1C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125-46C1-8075-D940D284A7B4}"/>
              </c:ext>
            </c:extLst>
          </c:dPt>
          <c:dPt>
            <c:idx val="5"/>
            <c:spPr>
              <a:solidFill>
                <a:srgbClr val="113EC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125-46C1-8075-D940D284A7B4}"/>
              </c:ext>
            </c:extLst>
          </c:dPt>
          <c:dLbls>
            <c:dLbl>
              <c:idx val="0"/>
              <c:layout>
                <c:manualLayout>
                  <c:x val="0"/>
                  <c:y val="-1.6778523489932892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125-46C1-8075-D940D284A7B4}"/>
                </c:ext>
              </c:extLst>
            </c:dLbl>
            <c:dLbl>
              <c:idx val="5"/>
              <c:layout>
                <c:manualLayout>
                  <c:x val="0"/>
                  <c:y val="-1.6778523489932892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125-46C1-8075-D940D284A7B4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.5</c:v>
                </c:pt>
                <c:pt idx="1">
                  <c:v>2.5</c:v>
                </c:pt>
                <c:pt idx="2">
                  <c:v>4</c:v>
                </c:pt>
                <c:pt idx="3">
                  <c:v>4.2</c:v>
                </c:pt>
                <c:pt idx="4">
                  <c:v>5</c:v>
                </c:pt>
                <c:pt idx="5">
                  <c:v>6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125-46C1-8075-D940D284A7B4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dPt>
            <c:idx val="1"/>
            <c:spPr>
              <a:solidFill>
                <a:srgbClr val="9DB1C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0125-46C1-8075-D940D284A7B4}"/>
              </c:ext>
            </c:extLst>
          </c:dPt>
          <c:dPt>
            <c:idx val="4"/>
            <c:spPr>
              <a:solidFill>
                <a:srgbClr val="D2EBE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0125-46C1-8075-D940D284A7B4}"/>
              </c:ext>
            </c:extLst>
          </c:dPt>
          <c:dLbls>
            <c:dLbl>
              <c:idx val="1"/>
              <c:layout>
                <c:manualLayout>
                  <c:x val="0"/>
                  <c:y val="-1.6778523489932892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125-46C1-8075-D940D284A7B4}"/>
                </c:ext>
              </c:extLst>
            </c:dLbl>
            <c:dLbl>
              <c:idx val="3"/>
              <c:layout>
                <c:manualLayout>
                  <c:x val="0"/>
                  <c:y val="-1.6778523489932892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125-46C1-8075-D940D284A7B4}"/>
                </c:ext>
              </c:extLst>
            </c:dLbl>
            <c:dLbl>
              <c:idx val="4"/>
              <c:layout>
                <c:manualLayout>
                  <c:x val="0"/>
                  <c:y val="-1.6778523489932892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125-46C1-8075-D940D284A7B4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1.5</c:v>
                </c:pt>
                <c:pt idx="2">
                  <c:v>0.20000000000000021</c:v>
                </c:pt>
                <c:pt idx="3">
                  <c:v>0.79999999999999982</c:v>
                </c:pt>
                <c:pt idx="4">
                  <c:v>1.799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0125-46C1-8075-D940D284A7B4}"/>
            </c:ext>
          </c:extLst>
        </c:ser>
        <c:dLbls/>
        <c:gapWidth val="80"/>
        <c:overlap val="100"/>
        <c:axId val="118606464"/>
        <c:axId val="118497664"/>
      </c:barChart>
      <c:catAx>
        <c:axId val="118606464"/>
        <c:scaling>
          <c:orientation val="minMax"/>
        </c:scaling>
        <c:axPos val="b"/>
        <c:majorGridlines>
          <c:spPr>
            <a:ln>
              <a:noFill/>
            </a:ln>
          </c:spPr>
        </c:majorGridlines>
        <c:maj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8497664"/>
        <c:crosses val="min"/>
        <c:lblAlgn val="ctr"/>
        <c:lblOffset val="100"/>
      </c:catAx>
      <c:valAx>
        <c:axId val="118497664"/>
        <c:scaling>
          <c:orientation val="minMax"/>
          <c:max val="6.8"/>
          <c:min val="0"/>
        </c:scaling>
        <c:delete val="1"/>
        <c:axPos val="l"/>
        <c:numFmt formatCode="General" sourceLinked="1"/>
        <c:tickLblPos val="none"/>
        <c:crossAx val="118606464"/>
        <c:crosses val="min"/>
        <c:crossBetween val="between"/>
      </c:valAx>
    </c:plotArea>
    <c:dispBlanksAs val="gap"/>
    <c:showDLblsOverMax val="1"/>
  </c:chart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9CA400-FB8F-41B7-905B-FD54B8CD9334}" type="datetimeFigureOut">
              <a:rPr lang="fr-FR" smtClean="0"/>
              <a:pPr/>
              <a:t>21/06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F71CCC-87B7-464D-9264-088F76F2FF4B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0260387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21/06/2023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54162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3135766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1466816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24033264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3376557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3231912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096297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675918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9979395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696891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2669855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26562020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15366869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xmlns="" val="735720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xmlns="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320687"/>
            <a:ext cx="8424614" cy="242951"/>
          </a:xfrm>
        </p:spPr>
        <p:txBody>
          <a:bodyPr/>
          <a:lstStyle>
            <a:lvl1pPr marL="9525" indent="85725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xmlns="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71550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xmlns="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4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xmlns="" val="27241936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F60C857-412F-4ED2-83E1-A54F41B6E55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667257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38"/>
            <a:ext cx="2520000" cy="288032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xmlns="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71550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xmlns="" val="2888137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xmlns="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75606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xmlns="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35615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xmlns="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28" y="1707654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xmlns="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xmlns="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xmlns="" val="691346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xmlns="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75606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xmlns="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35615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xmlns="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4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xmlns="" val="2077185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xmlns="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75606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xmlns="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35615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xmlns="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54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xmlns="" val="2044116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139702"/>
            <a:ext cx="8424000" cy="229322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92075" indent="0">
              <a:spcBef>
                <a:spcPts val="500"/>
              </a:spcBef>
              <a:spcAft>
                <a:spcPts val="0"/>
              </a:spcAft>
              <a:buNone/>
              <a:tabLst/>
              <a:defRPr sz="185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xmlns="" id="{0620B1E7-28CB-5340-99E1-D6CD526B04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528" y="355127"/>
            <a:ext cx="2520158" cy="146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8581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43958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xmlns="" val="1076546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49"/>
            <a:ext cx="3240000" cy="447947"/>
          </a:xfrm>
          <a:prstGeom prst="rect">
            <a:avLst/>
          </a:prstGeom>
        </p:spPr>
        <p:txBody>
          <a:bodyPr anchor="ctr" anchorCtr="0"/>
          <a:lstStyle>
            <a:lvl1pPr algn="l">
              <a:defRPr sz="1150"/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xmlns="" id="{665B74AF-140B-5C4A-AD2F-F9BE95FB66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5576" y="555526"/>
            <a:ext cx="5076136" cy="295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27407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F60C857-412F-4ED2-83E1-A54F41B6E55F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969993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xmlns="" id="{91E8A05D-5B0B-E544-9FB8-7A3273014EF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796632C-540E-884F-BA53-88537CCAC1E2}"/>
              </a:ext>
            </a:extLst>
          </p:cNvPr>
          <p:cNvSpPr/>
          <p:nvPr userDrawn="1"/>
        </p:nvSpPr>
        <p:spPr>
          <a:xfrm>
            <a:off x="3851920" y="411510"/>
            <a:ext cx="1440160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707654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xmlns="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771550"/>
            <a:ext cx="8424863" cy="53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</p:spTree>
    <p:extLst>
      <p:ext uri="{BB962C8B-B14F-4D97-AF65-F5344CB8AC3E}">
        <p14:creationId xmlns:p14="http://schemas.microsoft.com/office/powerpoint/2010/main" xmlns="" val="3585928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3" r:id="rId9"/>
    <p:sldLayoutId id="2147483824" r:id="rId10"/>
  </p:sldLayoutIdLst>
  <p:hf sldNum="0" hdr="0" ftr="0" dt="0"/>
  <p:txStyles>
    <p:titleStyle>
      <a:lvl1pPr marL="14288" indent="0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450" indent="-1714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7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chart" Target="../charts/chart1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251520" y="1563638"/>
            <a:ext cx="8567935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Rencontres salariales 2023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11601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467544" y="339502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 effet immédiat et visible des mesures annoncées sur les rémunérations au second semestre 2023</a:t>
            </a:r>
          </a:p>
        </p:txBody>
      </p:sp>
      <p:sp>
        <p:nvSpPr>
          <p:cNvPr id="8" name="Rectangle 7"/>
          <p:cNvSpPr/>
          <p:nvPr/>
        </p:nvSpPr>
        <p:spPr>
          <a:xfrm>
            <a:off x="3901870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Gardienne de la paix 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61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5 ans d’ancienneté)</a:t>
            </a:r>
            <a:endParaRPr lang="fr-FR" sz="800" i="1" baseline="30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165643" y="103896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ofesseur des écoles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37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7 ans d’ancienneté)</a:t>
            </a:r>
          </a:p>
        </p:txBody>
      </p:sp>
      <p:pic>
        <p:nvPicPr>
          <p:cNvPr id="41" name="Image 4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75542" y="1578122"/>
            <a:ext cx="1221733" cy="1221733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5503612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ide-soignant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238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0 ans d’ancienneté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08221" y="1578122"/>
            <a:ext cx="1220400" cy="12204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39567" y="1578122"/>
            <a:ext cx="1220400" cy="122040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467543" y="4006830"/>
            <a:ext cx="194421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Total gain/mois (S2 2023)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61651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02€</a:t>
            </a:r>
          </a:p>
        </p:txBody>
      </p:sp>
      <p:cxnSp>
        <p:nvCxnSpPr>
          <p:cNvPr id="21" name="Connecteur droit 20"/>
          <p:cNvCxnSpPr/>
          <p:nvPr/>
        </p:nvCxnSpPr>
        <p:spPr>
          <a:xfrm rot="5400000">
            <a:off x="1259631" y="3219822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/>
          <p:cNvSpPr/>
          <p:nvPr/>
        </p:nvSpPr>
        <p:spPr>
          <a:xfrm rot="5400000">
            <a:off x="1151621" y="3795886"/>
            <a:ext cx="216024" cy="216024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&gt;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193664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05 €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7544" y="2859782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+ 1,5% point d’indice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561650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7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193663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825009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3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7544" y="3187233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sure bas salair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67543" y="3522345"/>
            <a:ext cx="209410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ime de pouvoir d’achat*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561650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75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19366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75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825009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6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825010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93 €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110557" y="107138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gent d’accueil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1 574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début de carrière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6" name="Image 4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70912" y="1578122"/>
            <a:ext cx="1220400" cy="1220400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7443183" y="2859782"/>
            <a:ext cx="849516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1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443184" y="3187233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2 €</a:t>
            </a:r>
          </a:p>
        </p:txBody>
      </p:sp>
      <p:sp>
        <p:nvSpPr>
          <p:cNvPr id="49" name="Rectangle 48"/>
          <p:cNvSpPr/>
          <p:nvPr/>
        </p:nvSpPr>
        <p:spPr>
          <a:xfrm>
            <a:off x="744318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119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443184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82 €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67543" y="2509989"/>
            <a:ext cx="194421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Gain mensuel net (S2 2023)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3" name="Connecteur droit 52"/>
          <p:cNvCxnSpPr/>
          <p:nvPr/>
        </p:nvCxnSpPr>
        <p:spPr>
          <a:xfrm rot="5400000">
            <a:off x="1259631" y="2121590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2"/>
          <p:cNvGrpSpPr/>
          <p:nvPr/>
        </p:nvGrpSpPr>
        <p:grpSpPr>
          <a:xfrm>
            <a:off x="2701453" y="2497975"/>
            <a:ext cx="555308" cy="246221"/>
            <a:chOff x="2684173" y="2464723"/>
            <a:chExt cx="555308" cy="246221"/>
          </a:xfrm>
        </p:grpSpPr>
        <p:sp>
          <p:nvSpPr>
            <p:cNvPr id="58" name="Ellipse 57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59" name="ZoneTexte 58"/>
            <p:cNvSpPr txBox="1"/>
            <p:nvPr/>
          </p:nvSpPr>
          <p:spPr>
            <a:xfrm>
              <a:off x="2684173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5,0%</a:t>
              </a:r>
            </a:p>
          </p:txBody>
        </p:sp>
      </p:grpSp>
      <p:grpSp>
        <p:nvGrpSpPr>
          <p:cNvPr id="60" name="Groupe 59"/>
          <p:cNvGrpSpPr/>
          <p:nvPr/>
        </p:nvGrpSpPr>
        <p:grpSpPr>
          <a:xfrm>
            <a:off x="4372263" y="2497975"/>
            <a:ext cx="504825" cy="246221"/>
            <a:chOff x="2709415" y="2464723"/>
            <a:chExt cx="504825" cy="246221"/>
          </a:xfrm>
        </p:grpSpPr>
        <p:sp>
          <p:nvSpPr>
            <p:cNvPr id="61" name="Ellipse 60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5,1%</a:t>
              </a:r>
            </a:p>
          </p:txBody>
        </p:sp>
      </p:grpSp>
      <p:grpSp>
        <p:nvGrpSpPr>
          <p:cNvPr id="63" name="Groupe 62"/>
          <p:cNvGrpSpPr/>
          <p:nvPr/>
        </p:nvGrpSpPr>
        <p:grpSpPr>
          <a:xfrm>
            <a:off x="5997354" y="2497975"/>
            <a:ext cx="504825" cy="246221"/>
            <a:chOff x="2709415" y="2464723"/>
            <a:chExt cx="504825" cy="246221"/>
          </a:xfrm>
        </p:grpSpPr>
        <p:sp>
          <p:nvSpPr>
            <p:cNvPr id="64" name="Ellipse 63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5" name="ZoneTexte 64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4,1%</a:t>
              </a:r>
            </a:p>
          </p:txBody>
        </p:sp>
      </p:grpSp>
      <p:grpSp>
        <p:nvGrpSpPr>
          <p:cNvPr id="66" name="Groupe 65"/>
          <p:cNvGrpSpPr/>
          <p:nvPr/>
        </p:nvGrpSpPr>
        <p:grpSpPr>
          <a:xfrm>
            <a:off x="7603457" y="2497975"/>
            <a:ext cx="555308" cy="246221"/>
            <a:chOff x="2684173" y="2464723"/>
            <a:chExt cx="555308" cy="246221"/>
          </a:xfrm>
        </p:grpSpPr>
        <p:sp>
          <p:nvSpPr>
            <p:cNvPr id="67" name="Ellipse 66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8" name="ZoneTexte 67"/>
            <p:cNvSpPr txBox="1"/>
            <p:nvPr/>
          </p:nvSpPr>
          <p:spPr>
            <a:xfrm>
              <a:off x="2684173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11,6%</a:t>
              </a:r>
            </a:p>
          </p:txBody>
        </p:sp>
      </p:grpSp>
      <p:sp>
        <p:nvSpPr>
          <p:cNvPr id="44" name="ZoneTexte 43"/>
          <p:cNvSpPr txBox="1"/>
          <p:nvPr/>
        </p:nvSpPr>
        <p:spPr>
          <a:xfrm>
            <a:off x="323036" y="4568229"/>
            <a:ext cx="41049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>
                <a:latin typeface="Marianne" panose="02000000000000000000" pitchFamily="2" charset="0"/>
              </a:rPr>
              <a:t>* Montant net prime </a:t>
            </a:r>
            <a:r>
              <a:rPr lang="fr-FR" sz="700" dirty="0" err="1">
                <a:latin typeface="Marianne" panose="02000000000000000000" pitchFamily="2" charset="0"/>
              </a:rPr>
              <a:t>moyennisé</a:t>
            </a:r>
            <a:r>
              <a:rPr lang="fr-FR" sz="700" dirty="0">
                <a:latin typeface="Marianne" panose="02000000000000000000" pitchFamily="2" charset="0"/>
              </a:rPr>
              <a:t> sur 6 mois</a:t>
            </a:r>
          </a:p>
        </p:txBody>
      </p:sp>
      <p:sp>
        <p:nvSpPr>
          <p:cNvPr id="51" name="ZoneTexte 5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xmlns="" val="26457629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467544" y="339502"/>
            <a:ext cx="8245472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e revalorisation durable au 1</a:t>
            </a:r>
            <a:r>
              <a:rPr lang="fr-FR" altLang="fr-FR" sz="2000" b="1" baseline="30000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er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 janvier 2024 de la rémunération indiciaire nette</a:t>
            </a:r>
          </a:p>
        </p:txBody>
      </p:sp>
      <p:sp>
        <p:nvSpPr>
          <p:cNvPr id="8" name="Rectangle 7"/>
          <p:cNvSpPr/>
          <p:nvPr/>
        </p:nvSpPr>
        <p:spPr>
          <a:xfrm>
            <a:off x="3901870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Gardienne de la paix 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61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5 ans d’ancienneté)</a:t>
            </a:r>
            <a:endParaRPr lang="fr-FR" sz="800" i="1" baseline="30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165643" y="103896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ofesseur des écoles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37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7 ans d’ancienneté)</a:t>
            </a:r>
          </a:p>
        </p:txBody>
      </p:sp>
      <p:pic>
        <p:nvPicPr>
          <p:cNvPr id="41" name="Image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75542" y="1578122"/>
            <a:ext cx="1221733" cy="1221733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5503612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ide-soignant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238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0 ans d’ancienneté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08221" y="1578122"/>
            <a:ext cx="1220400" cy="12204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39567" y="1578122"/>
            <a:ext cx="1220400" cy="122040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467543" y="4042949"/>
            <a:ext cx="1944217" cy="42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Total gain salarial (2024) par rapport à janvier 2023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61651" y="4042949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7 €</a:t>
            </a:r>
          </a:p>
        </p:txBody>
      </p:sp>
      <p:cxnSp>
        <p:nvCxnSpPr>
          <p:cNvPr id="21" name="Connecteur droit 20"/>
          <p:cNvCxnSpPr/>
          <p:nvPr/>
        </p:nvCxnSpPr>
        <p:spPr>
          <a:xfrm rot="5400000">
            <a:off x="1259631" y="3255941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/>
          <p:cNvSpPr/>
          <p:nvPr/>
        </p:nvSpPr>
        <p:spPr>
          <a:xfrm rot="5400000">
            <a:off x="1151621" y="3832005"/>
            <a:ext cx="216024" cy="216024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&gt;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193664" y="4042949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6 €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7544" y="2859782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+ 1,5% point d’indice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561650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7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193663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825009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3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7544" y="3187233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sure bas salair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67543" y="3522345"/>
            <a:ext cx="209410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Distribution de 5 points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561650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19366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6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825009" y="3514684"/>
            <a:ext cx="849516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5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825010" y="4042949"/>
            <a:ext cx="849515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8 €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110557" y="107138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gent d’accueil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1 574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début de carrière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6" name="Image 4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70912" y="1578122"/>
            <a:ext cx="1220400" cy="1220400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7443183" y="2859782"/>
            <a:ext cx="849516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1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443184" y="3187233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2 €</a:t>
            </a:r>
          </a:p>
        </p:txBody>
      </p:sp>
      <p:sp>
        <p:nvSpPr>
          <p:cNvPr id="49" name="Rectangle 48"/>
          <p:cNvSpPr/>
          <p:nvPr/>
        </p:nvSpPr>
        <p:spPr>
          <a:xfrm>
            <a:off x="744318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443184" y="4042949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83 €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89145" y="2509989"/>
            <a:ext cx="2138639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Gain mensuel net (au 01/01/24)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3" name="Connecteur droit 52"/>
          <p:cNvCxnSpPr/>
          <p:nvPr/>
        </p:nvCxnSpPr>
        <p:spPr>
          <a:xfrm rot="5400000">
            <a:off x="1259631" y="2121590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2"/>
          <p:cNvGrpSpPr/>
          <p:nvPr/>
        </p:nvGrpSpPr>
        <p:grpSpPr>
          <a:xfrm>
            <a:off x="2701453" y="2497975"/>
            <a:ext cx="555308" cy="246221"/>
            <a:chOff x="2684173" y="2464723"/>
            <a:chExt cx="555308" cy="246221"/>
          </a:xfrm>
        </p:grpSpPr>
        <p:sp>
          <p:nvSpPr>
            <p:cNvPr id="58" name="Ellipse 57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59" name="ZoneTexte 58"/>
            <p:cNvSpPr txBox="1"/>
            <p:nvPr/>
          </p:nvSpPr>
          <p:spPr>
            <a:xfrm>
              <a:off x="2684173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,3%</a:t>
              </a:r>
            </a:p>
          </p:txBody>
        </p:sp>
      </p:grpSp>
      <p:grpSp>
        <p:nvGrpSpPr>
          <p:cNvPr id="60" name="Groupe 59"/>
          <p:cNvGrpSpPr/>
          <p:nvPr/>
        </p:nvGrpSpPr>
        <p:grpSpPr>
          <a:xfrm>
            <a:off x="4372263" y="2497975"/>
            <a:ext cx="504825" cy="246221"/>
            <a:chOff x="2709415" y="2464723"/>
            <a:chExt cx="504825" cy="246221"/>
          </a:xfrm>
        </p:grpSpPr>
        <p:sp>
          <p:nvSpPr>
            <p:cNvPr id="61" name="Ellipse 60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,7%</a:t>
              </a:r>
            </a:p>
          </p:txBody>
        </p:sp>
      </p:grpSp>
      <p:grpSp>
        <p:nvGrpSpPr>
          <p:cNvPr id="63" name="Groupe 62"/>
          <p:cNvGrpSpPr/>
          <p:nvPr/>
        </p:nvGrpSpPr>
        <p:grpSpPr>
          <a:xfrm>
            <a:off x="5997354" y="2497975"/>
            <a:ext cx="504825" cy="246221"/>
            <a:chOff x="2709415" y="2464723"/>
            <a:chExt cx="504825" cy="246221"/>
          </a:xfrm>
        </p:grpSpPr>
        <p:sp>
          <p:nvSpPr>
            <p:cNvPr id="64" name="Ellipse 63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5" name="ZoneTexte 64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,6%</a:t>
              </a:r>
            </a:p>
          </p:txBody>
        </p:sp>
      </p:grpSp>
      <p:grpSp>
        <p:nvGrpSpPr>
          <p:cNvPr id="66" name="Groupe 65"/>
          <p:cNvGrpSpPr/>
          <p:nvPr/>
        </p:nvGrpSpPr>
        <p:grpSpPr>
          <a:xfrm>
            <a:off x="7628699" y="2497975"/>
            <a:ext cx="504825" cy="246221"/>
            <a:chOff x="2709415" y="2464723"/>
            <a:chExt cx="504825" cy="246221"/>
          </a:xfrm>
        </p:grpSpPr>
        <p:sp>
          <p:nvSpPr>
            <p:cNvPr id="67" name="Ellipse 66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8" name="ZoneTexte 67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5,2%</a:t>
              </a:r>
            </a:p>
          </p:txBody>
        </p:sp>
      </p:grpSp>
      <p:sp>
        <p:nvSpPr>
          <p:cNvPr id="51" name="ZoneTexte 5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xmlns="" val="17361997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272083" y="1652272"/>
            <a:ext cx="8593239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Des mesures complémentaires </a:t>
            </a:r>
          </a:p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en soutien du pouvoir d’achat et pour faciliter le quotidien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10340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7309889" y="4009722"/>
            <a:ext cx="1019449" cy="64409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395536" y="357894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Quatre mesures supplémentaires </a:t>
            </a:r>
          </a:p>
        </p:txBody>
      </p:sp>
      <p:sp>
        <p:nvSpPr>
          <p:cNvPr id="2" name="Ellipse 1"/>
          <p:cNvSpPr/>
          <p:nvPr/>
        </p:nvSpPr>
        <p:spPr>
          <a:xfrm>
            <a:off x="971600" y="1222729"/>
            <a:ext cx="720080" cy="720080"/>
          </a:xfrm>
          <a:prstGeom prst="ellipse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1</a:t>
            </a:r>
          </a:p>
        </p:txBody>
      </p:sp>
      <p:sp>
        <p:nvSpPr>
          <p:cNvPr id="10" name="Ellipse 9"/>
          <p:cNvSpPr/>
          <p:nvPr/>
        </p:nvSpPr>
        <p:spPr>
          <a:xfrm>
            <a:off x="971600" y="2080448"/>
            <a:ext cx="720080" cy="720080"/>
          </a:xfrm>
          <a:prstGeom prst="ellips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2</a:t>
            </a:r>
          </a:p>
        </p:txBody>
      </p:sp>
      <p:sp>
        <p:nvSpPr>
          <p:cNvPr id="11" name="Ellipse 10"/>
          <p:cNvSpPr/>
          <p:nvPr/>
        </p:nvSpPr>
        <p:spPr>
          <a:xfrm>
            <a:off x="971600" y="2938167"/>
            <a:ext cx="720080" cy="720080"/>
          </a:xfrm>
          <a:prstGeom prst="ellips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3</a:t>
            </a:r>
          </a:p>
        </p:txBody>
      </p:sp>
      <p:sp>
        <p:nvSpPr>
          <p:cNvPr id="12" name="Ellipse 11"/>
          <p:cNvSpPr/>
          <p:nvPr/>
        </p:nvSpPr>
        <p:spPr>
          <a:xfrm>
            <a:off x="971600" y="3795886"/>
            <a:ext cx="720080" cy="720080"/>
          </a:xfrm>
          <a:prstGeom prst="ellips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4</a:t>
            </a:r>
          </a:p>
        </p:txBody>
      </p:sp>
      <p:sp>
        <p:nvSpPr>
          <p:cNvPr id="7" name="Rectangle 6"/>
          <p:cNvSpPr/>
          <p:nvPr/>
        </p:nvSpPr>
        <p:spPr>
          <a:xfrm>
            <a:off x="1907704" y="1222729"/>
            <a:ext cx="6336704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solidFill>
                  <a:schemeClr val="tx1"/>
                </a:solidFill>
                <a:latin typeface="Marianne" panose="02000000000000000000" pitchFamily="2" charset="0"/>
              </a:rPr>
              <a:t>Reconduction de </a:t>
            </a:r>
            <a:r>
              <a:rPr lang="fr-FR" dirty="0">
                <a:latin typeface="Marianne" panose="02000000000000000000" pitchFamily="2" charset="0"/>
              </a:rPr>
              <a:t>la </a:t>
            </a:r>
            <a:r>
              <a:rPr lang="fr-FR" b="1" dirty="0">
                <a:latin typeface="Marianne" panose="02000000000000000000" pitchFamily="2" charset="0"/>
              </a:rPr>
              <a:t>GIPA</a:t>
            </a:r>
            <a:r>
              <a:rPr lang="fr-FR" dirty="0">
                <a:latin typeface="Marianne" panose="02000000000000000000" pitchFamily="2" charset="0"/>
              </a:rPr>
              <a:t> pour 2023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907704" y="2080448"/>
            <a:ext cx="6336704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latin typeface="Marianne" panose="02000000000000000000" pitchFamily="2" charset="0"/>
              </a:rPr>
              <a:t>Revalorisation des </a:t>
            </a:r>
            <a:r>
              <a:rPr lang="fr-FR" b="1" dirty="0">
                <a:latin typeface="Marianne" panose="02000000000000000000" pitchFamily="2" charset="0"/>
              </a:rPr>
              <a:t>frais de miss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907704" y="2925751"/>
            <a:ext cx="6840760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latin typeface="Marianne" panose="02000000000000000000" pitchFamily="50" charset="0"/>
                <a:ea typeface="Times New Roman" panose="02020603050405020304" pitchFamily="18" charset="0"/>
              </a:rPr>
              <a:t>Meilleure prise en charge des </a:t>
            </a:r>
            <a:r>
              <a:rPr lang="fr-FR" b="1" dirty="0">
                <a:latin typeface="Marianne" panose="02000000000000000000" pitchFamily="50" charset="0"/>
                <a:ea typeface="Times New Roman" panose="02020603050405020304" pitchFamily="18" charset="0"/>
              </a:rPr>
              <a:t>abonnements aux transports collectifs</a:t>
            </a:r>
            <a:endParaRPr lang="fr-FR" b="1" dirty="0">
              <a:latin typeface="Marianne" panose="02000000000000000000" pitchFamily="2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907704" y="3795886"/>
            <a:ext cx="6336704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latin typeface="Marianne" panose="02000000000000000000" pitchFamily="2" charset="0"/>
              </a:rPr>
              <a:t>Revalorisation du barème de monétisation des </a:t>
            </a:r>
            <a:r>
              <a:rPr lang="fr-FR" b="1" dirty="0">
                <a:latin typeface="Marianne" panose="02000000000000000000" pitchFamily="2" charset="0"/>
              </a:rPr>
              <a:t>CET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xmlns="" val="2540725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/>
          <p:cNvSpPr/>
          <p:nvPr/>
        </p:nvSpPr>
        <p:spPr>
          <a:xfrm>
            <a:off x="6037010" y="1327342"/>
            <a:ext cx="838314" cy="59715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49" name="Rectangle 48"/>
          <p:cNvSpPr/>
          <p:nvPr/>
        </p:nvSpPr>
        <p:spPr>
          <a:xfrm>
            <a:off x="7309889" y="4009722"/>
            <a:ext cx="1019449" cy="64409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395536" y="357894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a GIPA est reconduite pour 2023</a:t>
            </a:r>
          </a:p>
        </p:txBody>
      </p:sp>
      <p:sp>
        <p:nvSpPr>
          <p:cNvPr id="3" name="Rectangle 2"/>
          <p:cNvSpPr/>
          <p:nvPr/>
        </p:nvSpPr>
        <p:spPr>
          <a:xfrm>
            <a:off x="2195736" y="1563638"/>
            <a:ext cx="648072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La </a:t>
            </a:r>
            <a:r>
              <a:rPr lang="fr-FR" sz="1600" b="1" dirty="0">
                <a:latin typeface="Marianne" panose="02000000000000000000" pitchFamily="2" charset="0"/>
              </a:rPr>
              <a:t>garantie individuelle de pouvoir d’achat (GIPA) </a:t>
            </a:r>
            <a:r>
              <a:rPr lang="fr-FR" sz="1600" dirty="0">
                <a:latin typeface="Marianne" panose="02000000000000000000" pitchFamily="2" charset="0"/>
              </a:rPr>
              <a:t>est un mécanisme de compensation de la perte de pouvoir d’achat de la rémunération indiciaire des agents publics, utilisable depuis 2008. </a:t>
            </a:r>
            <a:r>
              <a:rPr lang="fr-FR" sz="1600" b="1" dirty="0">
                <a:latin typeface="Marianne" panose="02000000000000000000" pitchFamily="2" charset="0"/>
              </a:rPr>
              <a:t>Il est décidé de la reconduire en 2023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195736" y="3324929"/>
            <a:ext cx="64807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C’est une indemnité versée </a:t>
            </a:r>
            <a:r>
              <a:rPr lang="fr-FR" sz="1600" b="1" dirty="0">
                <a:latin typeface="Marianne" panose="02000000000000000000" pitchFamily="2" charset="0"/>
              </a:rPr>
              <a:t>pour tous les agents dont le traitement indiciaire brut aurait évolué moins vite que l’indice des prix </a:t>
            </a:r>
            <a:r>
              <a:rPr lang="fr-FR" sz="1600" dirty="0">
                <a:latin typeface="Marianne" panose="02000000000000000000" pitchFamily="2" charset="0"/>
              </a:rPr>
              <a:t>à la consommation, en cumul sur une période de </a:t>
            </a:r>
            <a:r>
              <a:rPr lang="fr-FR" sz="1600" b="1" dirty="0">
                <a:latin typeface="Marianne" panose="02000000000000000000" pitchFamily="2" charset="0"/>
              </a:rPr>
              <a:t>4 ans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3076" y="3278969"/>
            <a:ext cx="964729" cy="964729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403" y="1625176"/>
            <a:ext cx="954142" cy="954142"/>
          </a:xfrm>
          <a:prstGeom prst="rect">
            <a:avLst/>
          </a:prstGeom>
        </p:spPr>
      </p:pic>
      <p:sp>
        <p:nvSpPr>
          <p:cNvPr id="10" name="Ellipse 9"/>
          <p:cNvSpPr/>
          <p:nvPr/>
        </p:nvSpPr>
        <p:spPr>
          <a:xfrm>
            <a:off x="8172400" y="411510"/>
            <a:ext cx="432048" cy="427770"/>
          </a:xfrm>
          <a:prstGeom prst="ellipse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1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xmlns="" val="23949640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95536" y="328860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es frais de mission sont revalorisés</a:t>
            </a:r>
          </a:p>
        </p:txBody>
      </p:sp>
      <p:sp>
        <p:nvSpPr>
          <p:cNvPr id="4" name="Rectangle 3"/>
          <p:cNvSpPr/>
          <p:nvPr/>
        </p:nvSpPr>
        <p:spPr>
          <a:xfrm>
            <a:off x="2195736" y="1596737"/>
            <a:ext cx="63184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Face à l’augmentation des coûts, il s’agir de mieux </a:t>
            </a:r>
            <a:r>
              <a:rPr lang="fr-FR" sz="1600" b="1" dirty="0">
                <a:latin typeface="Marianne" panose="02000000000000000000" pitchFamily="2" charset="0"/>
              </a:rPr>
              <a:t>compenser le prix des nuitées hôtelières et des repas </a:t>
            </a:r>
            <a:r>
              <a:rPr lang="fr-FR" sz="1600" dirty="0">
                <a:latin typeface="Marianne" panose="02000000000000000000" pitchFamily="2" charset="0"/>
              </a:rPr>
              <a:t>dans le cadre des déplacements des agents (missions, formation…)</a:t>
            </a:r>
          </a:p>
        </p:txBody>
      </p:sp>
      <p:sp>
        <p:nvSpPr>
          <p:cNvPr id="6" name="Rectangle 5"/>
          <p:cNvSpPr/>
          <p:nvPr/>
        </p:nvSpPr>
        <p:spPr>
          <a:xfrm>
            <a:off x="2195736" y="3113138"/>
            <a:ext cx="63184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2" charset="0"/>
              </a:rPr>
              <a:t>2 mesures </a:t>
            </a:r>
            <a:r>
              <a:rPr lang="fr-FR" sz="1600" dirty="0">
                <a:latin typeface="Marianne" panose="02000000000000000000" pitchFamily="2" charset="0"/>
              </a:rPr>
              <a:t>applicables</a:t>
            </a:r>
            <a:r>
              <a:rPr lang="fr-FR" sz="1600" b="1" dirty="0">
                <a:latin typeface="Marianne" panose="02000000000000000000" pitchFamily="2" charset="0"/>
              </a:rPr>
              <a:t> </a:t>
            </a:r>
            <a:r>
              <a:rPr lang="fr-FR" sz="1600" dirty="0">
                <a:latin typeface="Marianne" panose="02000000000000000000" pitchFamily="2" charset="0"/>
              </a:rPr>
              <a:t>dès la rentrée 2023 (au moins 10% en fonction des territoires)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2" charset="0"/>
              </a:rPr>
              <a:t>Augmentation du </a:t>
            </a:r>
            <a:r>
              <a:rPr lang="fr-FR" sz="1600" b="1" dirty="0">
                <a:latin typeface="Marianne" panose="02000000000000000000" pitchFamily="2" charset="0"/>
              </a:rPr>
              <a:t>plafond des nuitées hôtelières</a:t>
            </a:r>
            <a:endParaRPr lang="fr-FR" sz="1600" dirty="0">
              <a:latin typeface="Marianne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2" charset="0"/>
              </a:rPr>
              <a:t>Revalorisation du </a:t>
            </a:r>
            <a:r>
              <a:rPr lang="fr-FR" sz="1600" b="1" dirty="0">
                <a:latin typeface="Marianne" panose="02000000000000000000" pitchFamily="2" charset="0"/>
              </a:rPr>
              <a:t>plafond de l’indemnité repas</a:t>
            </a:r>
            <a:endParaRPr lang="fr-FR" sz="1600" dirty="0">
              <a:latin typeface="Marianne" panose="02000000000000000000" pitchFamily="2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3076" y="3182819"/>
            <a:ext cx="964729" cy="96472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403" y="1532262"/>
            <a:ext cx="954142" cy="954142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>
            <a:off x="8172400" y="411510"/>
            <a:ext cx="432048" cy="427770"/>
          </a:xfrm>
          <a:prstGeom prst="ellips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2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xmlns="" val="19335057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95536" y="328860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a prise en charge des frais de transport est augmentée</a:t>
            </a:r>
          </a:p>
        </p:txBody>
      </p:sp>
      <p:sp>
        <p:nvSpPr>
          <p:cNvPr id="4" name="Rectangle 3"/>
          <p:cNvSpPr/>
          <p:nvPr/>
        </p:nvSpPr>
        <p:spPr>
          <a:xfrm>
            <a:off x="2131798" y="1347613"/>
            <a:ext cx="43897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600" dirty="0">
                <a:latin typeface="Marianne" panose="02000000000000000000" pitchFamily="2" charset="0"/>
              </a:rPr>
              <a:t>Prise en charge augmentée à compter de sept. 23, </a:t>
            </a:r>
            <a:r>
              <a:rPr lang="fr-FR" sz="1600" b="1" dirty="0">
                <a:latin typeface="Marianne" panose="02000000000000000000" pitchFamily="2" charset="0"/>
              </a:rPr>
              <a:t>cumulable avec le forfait mobilités durables </a:t>
            </a:r>
            <a:r>
              <a:rPr lang="fr-FR" sz="1600" dirty="0">
                <a:latin typeface="Marianne" panose="02000000000000000000" pitchFamily="2" charset="0"/>
              </a:rPr>
              <a:t>depuis le 1</a:t>
            </a:r>
            <a:r>
              <a:rPr lang="fr-FR" sz="1600" baseline="30000" dirty="0">
                <a:latin typeface="Marianne" panose="02000000000000000000" pitchFamily="2" charset="0"/>
              </a:rPr>
              <a:t>er</a:t>
            </a:r>
            <a:r>
              <a:rPr lang="fr-FR" sz="1600" dirty="0">
                <a:latin typeface="Marianne" panose="02000000000000000000" pitchFamily="2" charset="0"/>
              </a:rPr>
              <a:t> septembre 2022. Réponse à l’augmentation du coût des abonnements et à une volonté de </a:t>
            </a:r>
            <a:r>
              <a:rPr lang="fr-FR" sz="1600" b="1" dirty="0">
                <a:latin typeface="Marianne" panose="02000000000000000000" pitchFamily="2" charset="0"/>
              </a:rPr>
              <a:t>favoriser les transports collectifs</a:t>
            </a:r>
            <a:endParaRPr lang="fr-FR" sz="1600" dirty="0">
              <a:latin typeface="Marianne" panose="02000000000000000000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31799" y="3435846"/>
            <a:ext cx="46004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Un gain de </a:t>
            </a:r>
            <a:r>
              <a:rPr lang="fr-FR" sz="1600" b="1" dirty="0">
                <a:latin typeface="Marianne" panose="02000000000000000000" pitchFamily="2" charset="0"/>
              </a:rPr>
              <a:t>19€/mois en Ile-de-France </a:t>
            </a:r>
            <a:r>
              <a:rPr lang="fr-FR" sz="1600" dirty="0">
                <a:latin typeface="Marianne" panose="02000000000000000000" pitchFamily="2" charset="0"/>
              </a:rPr>
              <a:t>pour illustra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86188" y="1511225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ide-soignant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238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0 ans d’ancienneté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22143" y="2058043"/>
            <a:ext cx="1220400" cy="1220400"/>
          </a:xfrm>
          <a:prstGeom prst="rect">
            <a:avLst/>
          </a:prstGeom>
        </p:spPr>
      </p:pic>
      <p:grpSp>
        <p:nvGrpSpPr>
          <p:cNvPr id="15" name="Groupe 14"/>
          <p:cNvGrpSpPr/>
          <p:nvPr/>
        </p:nvGrpSpPr>
        <p:grpSpPr>
          <a:xfrm>
            <a:off x="7379930" y="2977896"/>
            <a:ext cx="504825" cy="246221"/>
            <a:chOff x="2709415" y="2464723"/>
            <a:chExt cx="504825" cy="246221"/>
          </a:xfrm>
        </p:grpSpPr>
        <p:sp>
          <p:nvSpPr>
            <p:cNvPr id="16" name="Ellipse 15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>
                  <a:latin typeface="Marianne" panose="02000000000000000000" pitchFamily="2" charset="0"/>
                </a:rPr>
                <a:t>3,5%</a:t>
              </a:r>
              <a:endParaRPr lang="fr-FR" sz="1000" b="1" dirty="0">
                <a:latin typeface="Marianne" panose="02000000000000000000" pitchFamily="2" charset="0"/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7010453" y="4110136"/>
            <a:ext cx="1243776" cy="26181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8€ + 19€ = 77€</a:t>
            </a:r>
          </a:p>
        </p:txBody>
      </p:sp>
      <p:sp>
        <p:nvSpPr>
          <p:cNvPr id="22" name="Ellipse 21"/>
          <p:cNvSpPr/>
          <p:nvPr/>
        </p:nvSpPr>
        <p:spPr>
          <a:xfrm>
            <a:off x="8172400" y="411510"/>
            <a:ext cx="432048" cy="432048"/>
          </a:xfrm>
          <a:prstGeom prst="ellips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3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3076" y="3182819"/>
            <a:ext cx="964729" cy="964729"/>
          </a:xfrm>
          <a:prstGeom prst="rect">
            <a:avLst/>
          </a:prstGeom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403" y="1532262"/>
            <a:ext cx="954142" cy="954142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6660232" y="3336658"/>
            <a:ext cx="1944217" cy="586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Total gain indiciaire (janvier 2024) + gain pouvoir d’achat lié au forfait Navigo 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xmlns="" val="28711512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95536" y="328860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e barème de monétisation des CET est revalorisé</a:t>
            </a:r>
          </a:p>
        </p:txBody>
      </p:sp>
      <p:sp>
        <p:nvSpPr>
          <p:cNvPr id="4" name="Rectangle 3"/>
          <p:cNvSpPr/>
          <p:nvPr/>
        </p:nvSpPr>
        <p:spPr>
          <a:xfrm>
            <a:off x="2195736" y="1743450"/>
            <a:ext cx="63184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Les jours de CET peuvent être utilisés ou monétisés : le barème de leur monétisation est revalorisé pour contribuer au pouvoir d’achat des agents qui les monétisent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403" y="3259968"/>
            <a:ext cx="964729" cy="96472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403" y="1676278"/>
            <a:ext cx="954142" cy="954142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>
            <a:off x="8172400" y="411510"/>
            <a:ext cx="432048" cy="432048"/>
          </a:xfrm>
          <a:prstGeom prst="ellips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4</a:t>
            </a:r>
          </a:p>
        </p:txBody>
      </p:sp>
      <p:sp>
        <p:nvSpPr>
          <p:cNvPr id="10" name="Rectangle 9"/>
          <p:cNvSpPr/>
          <p:nvPr/>
        </p:nvSpPr>
        <p:spPr>
          <a:xfrm>
            <a:off x="2195736" y="3222724"/>
            <a:ext cx="63184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2" charset="0"/>
              </a:rPr>
              <a:t>Revalorisation de 10% des indemnités forfaitaires:</a:t>
            </a:r>
          </a:p>
          <a:p>
            <a:r>
              <a:rPr lang="fr-FR" sz="1600" dirty="0">
                <a:latin typeface="Marianne" panose="02000000000000000000" pitchFamily="2" charset="0"/>
              </a:rPr>
              <a:t>- </a:t>
            </a:r>
            <a:r>
              <a:rPr lang="fr-FR" sz="1600" b="1" dirty="0">
                <a:latin typeface="Marianne" panose="02000000000000000000" pitchFamily="2" charset="0"/>
              </a:rPr>
              <a:t>   </a:t>
            </a:r>
            <a:r>
              <a:rPr lang="fr-FR" sz="1600" dirty="0">
                <a:latin typeface="Marianne" panose="02000000000000000000" pitchFamily="2" charset="0"/>
              </a:rPr>
              <a:t>Agent de catégorie A: de 135€ brut à 150€</a:t>
            </a:r>
          </a:p>
          <a:p>
            <a:pPr marL="285750" indent="-285750">
              <a:buFontTx/>
              <a:buChar char="-"/>
            </a:pPr>
            <a:r>
              <a:rPr lang="fr-FR" sz="1600" dirty="0">
                <a:latin typeface="Marianne" panose="02000000000000000000" pitchFamily="2" charset="0"/>
              </a:rPr>
              <a:t>Agent de catégorie B: de 90€ brut à 100€</a:t>
            </a:r>
          </a:p>
          <a:p>
            <a:pPr marL="285750" indent="-285750">
              <a:buFontTx/>
              <a:buChar char="-"/>
            </a:pPr>
            <a:r>
              <a:rPr lang="fr-FR" sz="1600" dirty="0">
                <a:latin typeface="Marianne" panose="02000000000000000000" pitchFamily="2" charset="0"/>
              </a:rPr>
              <a:t>Agent de catégorie C: de </a:t>
            </a:r>
            <a:r>
              <a:rPr lang="fr-FR" sz="1600" dirty="0"/>
              <a:t>75€ brut à 83€</a:t>
            </a:r>
            <a:endParaRPr lang="fr-FR" sz="1600" dirty="0">
              <a:latin typeface="Marianne" panose="02000000000000000000" pitchFamily="2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xmlns="" val="9405503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563638"/>
            <a:ext cx="8423918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Un engagement de l’Etat au profit de la politique salariale de près de 7% en 2023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068774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" name="Connecteur droit 40"/>
          <p:cNvCxnSpPr/>
          <p:nvPr>
            <p:custDataLst>
              <p:tags r:id="rId1"/>
            </p:custDataLst>
          </p:nvPr>
        </p:nvCxnSpPr>
        <p:spPr bwMode="auto">
          <a:xfrm>
            <a:off x="1495425" y="3074988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>
            <p:custDataLst>
              <p:tags r:id="rId2"/>
            </p:custDataLst>
          </p:nvPr>
        </p:nvCxnSpPr>
        <p:spPr bwMode="auto">
          <a:xfrm>
            <a:off x="2789238" y="2484438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>
            <p:custDataLst>
              <p:tags r:id="rId3"/>
            </p:custDataLst>
          </p:nvPr>
        </p:nvCxnSpPr>
        <p:spPr bwMode="auto">
          <a:xfrm>
            <a:off x="4084638" y="2406650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>
            <p:custDataLst>
              <p:tags r:id="rId4"/>
            </p:custDataLst>
          </p:nvPr>
        </p:nvCxnSpPr>
        <p:spPr bwMode="auto">
          <a:xfrm>
            <a:off x="5378450" y="2092325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>
            <p:custDataLst>
              <p:tags r:id="rId5"/>
            </p:custDataLst>
          </p:nvPr>
        </p:nvCxnSpPr>
        <p:spPr bwMode="auto">
          <a:xfrm>
            <a:off x="6673850" y="1384300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1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1114344588"/>
              </p:ext>
            </p:extLst>
          </p:nvPr>
        </p:nvGraphicFramePr>
        <p:xfrm>
          <a:off x="404813" y="1301750"/>
          <a:ext cx="7932737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56" name="Espace réservé du texte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73088" y="4100513"/>
            <a:ext cx="1123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293F67-225F-44A1-81BB-0B3A7B165739}" type="datetime'''M''es''ur''e''''''s ''g''''''é''''nér''a''le''''''s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esures générales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5" name="Espace réservé du texte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071688" y="4100513"/>
            <a:ext cx="7143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D17241-6BB8-43A5-8C4F-7B40A32AD216}" type="datetime'''GV''T ''''''''''''''''p''''''''''o''''s''i''t''''i''''''f''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GVT positif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86" name="Espace réservé du texte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13150" y="2376488"/>
            <a:ext cx="222250" cy="136525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7463" tIns="0" rIns="17463" bIns="0" rtlCol="0" anchor="ctr" anchorCtr="0">
            <a:noAutofit/>
          </a:bodyPr>
          <a:lstStyle>
            <a:lvl1pPr marL="920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1450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450" indent="-17145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450" indent="-17145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7450" indent="-17145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2FC295-4EB1-42B3-9CA3-63F2D5B522BA}" type="datetime'''''''''''''''0'''',''''''''''2'''">
              <a:rPr lang="fr-FR" altLang="en-US" sz="1000" smtClean="0">
                <a:solidFill>
                  <a:schemeClr val="bg1"/>
                </a:solidFill>
                <a:latin typeface="Marianne" panose="02000000000000000000" pitchFamily="2" charset="0"/>
                <a:sym typeface="Marianne" panose="02000000000000000000" pitchFamily="2" charset="0"/>
              </a:rPr>
              <a:pPr marL="0"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2</a:t>
            </a:fld>
            <a:endParaRPr lang="fr-FR" sz="1000" noProof="0" dirty="0">
              <a:solidFill>
                <a:schemeClr val="bg1"/>
              </a:solidFill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4" name="Espace réservé du texte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28974" y="4100513"/>
            <a:ext cx="99218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A53B68-B2E9-4388-86D7-EF27071BA0EC}" type="datetime'Reva''l''or''''i''s''a''''tion des bas ''d''e g''rill''''''e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valorisation des bas de grille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3" name="Espace réservé du texte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524375" y="4100512"/>
            <a:ext cx="98901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7613D9-C707-4FCF-A4FE-0B3207917CD0}" type="datetime'''''P''''''rime de p''''o''''u''''v''oi''r d''’''''ach''a''t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ime de pouvoir d’achat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2" name="Espace réservé du texte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919788" y="4100512"/>
            <a:ext cx="78740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813764-A0AE-4B4B-8591-A6D48C21EC1A}" type="datetime'Mesures catégorielles'' (n''otamment'''' ''ensei''gna''nts'')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esures catégorielles (notamment enseignants)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8" name="Espace réservé du texte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242175" y="4100513"/>
            <a:ext cx="730250" cy="337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b="1" dirty="0">
                <a:latin typeface="Marianne" panose="02000000000000000000" pitchFamily="2" charset="0"/>
                <a:sym typeface="Marianne" panose="02000000000000000000" pitchFamily="2" charset="0"/>
              </a:rPr>
              <a:t>Total Enveloppe Salariale</a:t>
            </a:r>
          </a:p>
        </p:txBody>
      </p:sp>
      <p:sp>
        <p:nvSpPr>
          <p:cNvPr id="98" name="Titre 1"/>
          <p:cNvSpPr txBox="1">
            <a:spLocks/>
          </p:cNvSpPr>
          <p:nvPr/>
        </p:nvSpPr>
        <p:spPr>
          <a:xfrm>
            <a:off x="487612" y="355919"/>
            <a:ext cx="8287397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fr-FR" altLang="fr-FR" sz="2000" b="1" u="sng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 la fonction publique d’Etat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, une enveloppe salariale globale représentant une hausse de 6,8% en 2023 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487612" y="2110038"/>
            <a:ext cx="2406401" cy="2328314"/>
          </a:xfrm>
          <a:prstGeom prst="rect">
            <a:avLst/>
          </a:prstGeom>
          <a:noFill/>
          <a:ln w="9525"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9" name="ZoneTexte 148"/>
          <p:cNvSpPr txBox="1"/>
          <p:nvPr/>
        </p:nvSpPr>
        <p:spPr>
          <a:xfrm>
            <a:off x="336173" y="4438352"/>
            <a:ext cx="49484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>
                <a:latin typeface="Marianne" panose="02000000000000000000" pitchFamily="2" charset="0"/>
              </a:rPr>
              <a:t>Source: documents budgétaires 2023</a:t>
            </a:r>
          </a:p>
          <a:p>
            <a:r>
              <a:rPr lang="fr-FR" sz="700" dirty="0">
                <a:latin typeface="Marianne" panose="02000000000000000000" pitchFamily="2" charset="0"/>
              </a:rPr>
              <a:t>La masse salariale est retraitée de l’effet volume pour ne conserver que l’effet prix</a:t>
            </a:r>
          </a:p>
        </p:txBody>
      </p:sp>
      <p:sp>
        <p:nvSpPr>
          <p:cNvPr id="113" name="ZoneTexte 112"/>
          <p:cNvSpPr txBox="1"/>
          <p:nvPr/>
        </p:nvSpPr>
        <p:spPr>
          <a:xfrm>
            <a:off x="666611" y="1990546"/>
            <a:ext cx="204840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dirty="0">
                <a:latin typeface="Marianne" panose="02000000000000000000" pitchFamily="2" charset="0"/>
              </a:rPr>
              <a:t>Au bénéfice de l’ensemble des agents</a:t>
            </a:r>
          </a:p>
        </p:txBody>
      </p:sp>
      <p:sp>
        <p:nvSpPr>
          <p:cNvPr id="136" name="Rectangle 135"/>
          <p:cNvSpPr/>
          <p:nvPr/>
        </p:nvSpPr>
        <p:spPr>
          <a:xfrm>
            <a:off x="3065244" y="1779662"/>
            <a:ext cx="2479318" cy="2658690"/>
          </a:xfrm>
          <a:prstGeom prst="rect">
            <a:avLst/>
          </a:prstGeom>
          <a:noFill/>
          <a:ln w="9525"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7" name="ZoneTexte 136"/>
          <p:cNvSpPr txBox="1"/>
          <p:nvPr/>
        </p:nvSpPr>
        <p:spPr>
          <a:xfrm>
            <a:off x="3249667" y="1636226"/>
            <a:ext cx="2110472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dirty="0">
                <a:latin typeface="Marianne" panose="02000000000000000000" pitchFamily="2" charset="0"/>
              </a:rPr>
              <a:t>Au bénéfice des bas et moyens salaire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932370" y="3260477"/>
            <a:ext cx="2122579" cy="627757"/>
          </a:xfrm>
          <a:prstGeom prst="wedgeRectCallout">
            <a:avLst>
              <a:gd name="adj1" fmla="val -65678"/>
              <a:gd name="adj2" fmla="val -24075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Effet année pleine de la revalorisation du point 2022 (3,5% à </a:t>
            </a:r>
            <a:r>
              <a:rPr lang="fr-FR" sz="800" dirty="0" err="1">
                <a:solidFill>
                  <a:schemeClr val="tx1"/>
                </a:solidFill>
                <a:latin typeface="Marianne" panose="02000000000000000000" pitchFamily="2" charset="0"/>
              </a:rPr>
              <a:t>mi-année</a:t>
            </a:r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 donc un effet de 1,75%)</a:t>
            </a:r>
          </a:p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Effet sur le second semestre des mesures 2023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563888" y="2636637"/>
            <a:ext cx="1929617" cy="471643"/>
          </a:xfrm>
          <a:prstGeom prst="wedgeRectCallout">
            <a:avLst>
              <a:gd name="adj1" fmla="val -33061"/>
              <a:gd name="adj2" fmla="val -64945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Relèvements l’IMT (janvier et mai).</a:t>
            </a:r>
          </a:p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Relèvement des bas de grille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xmlns="" val="1225348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635646"/>
            <a:ext cx="8423918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Un ensemble de mesures salariales qui soutiennent plus particulièrement les moyens et bas salaires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90730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2699792" y="2160894"/>
            <a:ext cx="6048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A travers le système de la carrière et les grilles, </a:t>
            </a:r>
            <a:r>
              <a:rPr lang="fr-FR" sz="1400" b="1" dirty="0">
                <a:latin typeface="Marianne" panose="02000000000000000000" pitchFamily="50" charset="0"/>
                <a:ea typeface="Times New Roman" panose="02020603050405020304" pitchFamily="18" charset="0"/>
              </a:rPr>
              <a:t>les rémunérations individuelles des fonctionnaires augmentent </a:t>
            </a: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sous l’effet 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d’un avancement d’échelon, à l’ancienneté ;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d’un avancement de grade ;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de la réussite d’un concours / du bénéfice d’un dispositif de promotion interne</a:t>
            </a:r>
          </a:p>
        </p:txBody>
      </p:sp>
      <p:sp>
        <p:nvSpPr>
          <p:cNvPr id="13" name="Titre 1"/>
          <p:cNvSpPr txBox="1">
            <a:spLocks/>
          </p:cNvSpPr>
          <p:nvPr/>
        </p:nvSpPr>
        <p:spPr>
          <a:xfrm>
            <a:off x="461066" y="355852"/>
            <a:ext cx="8143381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i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GVT : augmentations individuelles annuelles moyennes en 2023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/>
            </a:r>
            <a:b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</a:b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 la fonction publique de l’Etat : </a:t>
            </a:r>
            <a:r>
              <a:rPr lang="fr-FR" altLang="fr-FR" sz="2000" b="1" u="sng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+1,5%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 en moyenne</a:t>
            </a:r>
          </a:p>
        </p:txBody>
      </p:sp>
      <p:grpSp>
        <p:nvGrpSpPr>
          <p:cNvPr id="9" name="Groupe 8"/>
          <p:cNvGrpSpPr/>
          <p:nvPr/>
        </p:nvGrpSpPr>
        <p:grpSpPr>
          <a:xfrm>
            <a:off x="899592" y="2323148"/>
            <a:ext cx="1152128" cy="1060489"/>
            <a:chOff x="7202073" y="1675180"/>
            <a:chExt cx="860534" cy="792088"/>
          </a:xfrm>
        </p:grpSpPr>
        <p:sp>
          <p:nvSpPr>
            <p:cNvPr id="10" name="Ellipse 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7202073" y="1901947"/>
              <a:ext cx="860534" cy="390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latin typeface="Marianne" panose="02000000000000000000" pitchFamily="2" charset="0"/>
                </a:rPr>
                <a:t>+1,5%</a:t>
              </a:r>
            </a:p>
            <a:p>
              <a:pPr algn="ctr"/>
              <a:r>
                <a:rPr lang="fr-FR" sz="1200" i="1" dirty="0">
                  <a:latin typeface="Marianne" panose="02000000000000000000" pitchFamily="2" charset="0"/>
                </a:rPr>
                <a:t>~1,5Md€</a:t>
              </a:r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2267744" y="2100908"/>
            <a:ext cx="216024" cy="1504969"/>
            <a:chOff x="2339752" y="1495230"/>
            <a:chExt cx="216024" cy="1504969"/>
          </a:xfrm>
        </p:grpSpPr>
        <p:cxnSp>
          <p:nvCxnSpPr>
            <p:cNvPr id="14" name="Connecteur droit 13"/>
            <p:cNvCxnSpPr/>
            <p:nvPr/>
          </p:nvCxnSpPr>
          <p:spPr>
            <a:xfrm>
              <a:off x="2447764" y="1495230"/>
              <a:ext cx="0" cy="1504969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Ellipse 14"/>
            <p:cNvSpPr/>
            <p:nvPr/>
          </p:nvSpPr>
          <p:spPr>
            <a:xfrm>
              <a:off x="2339752" y="2139702"/>
              <a:ext cx="216024" cy="21602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&gt;</a:t>
              </a:r>
            </a:p>
          </p:txBody>
        </p:sp>
      </p:grpSp>
      <p:sp>
        <p:nvSpPr>
          <p:cNvPr id="16" name="ZoneTexte 15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xmlns="" val="17421773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7120839" y="1203598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ofesseur des écoles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37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7 ans d’ancienneté)</a:t>
            </a:r>
          </a:p>
        </p:txBody>
      </p:sp>
      <p:pic>
        <p:nvPicPr>
          <p:cNvPr id="24" name="Imag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30738" y="1742754"/>
            <a:ext cx="1221733" cy="1221733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6969495" y="3015846"/>
            <a:ext cx="1944217" cy="487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fr-FR" sz="800" b="1" dirty="0">
                <a:latin typeface="Marianne" panose="02000000000000000000" pitchFamily="2" charset="0"/>
              </a:rPr>
              <a:t>Gain de rémunération (2024)</a:t>
            </a:r>
          </a:p>
          <a:p>
            <a:pPr algn="ctr">
              <a:lnSpc>
                <a:spcPct val="107000"/>
              </a:lnSpc>
            </a:pPr>
            <a:r>
              <a:rPr lang="fr-FR" sz="8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(mesures socle + mesures annoncées aujourd’hui</a:t>
            </a:r>
            <a:r>
              <a:rPr lang="fr-FR" sz="7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427645" y="3566784"/>
            <a:ext cx="1027914" cy="22910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9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56 € (+12,5%)</a:t>
            </a:r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461067" y="355852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i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Mesures et travaux catégoriels en 2023 (illustrations)</a:t>
            </a:r>
          </a:p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/>
            </a:r>
            <a:b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</a:b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 la fonction publique de l’Etat : </a:t>
            </a:r>
            <a:r>
              <a:rPr lang="fr-FR" altLang="fr-FR" sz="2000" b="1" u="sng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+1,8%</a:t>
            </a:r>
            <a:endParaRPr lang="fr-FR" altLang="fr-FR" sz="2000" b="1" dirty="0">
              <a:latin typeface="Marianne" panose="02000000000000000000" pitchFamily="50" charset="0"/>
              <a:ea typeface="MS PGothic" panose="020B0600070205080204" pitchFamily="34" charset="-128"/>
              <a:cs typeface="Section-Medium"/>
            </a:endParaRPr>
          </a:p>
        </p:txBody>
      </p:sp>
      <p:grpSp>
        <p:nvGrpSpPr>
          <p:cNvPr id="14" name="Groupe 13"/>
          <p:cNvGrpSpPr/>
          <p:nvPr/>
        </p:nvGrpSpPr>
        <p:grpSpPr>
          <a:xfrm>
            <a:off x="7594560" y="2675696"/>
            <a:ext cx="649848" cy="246221"/>
            <a:chOff x="2673959" y="2464723"/>
            <a:chExt cx="555308" cy="246221"/>
          </a:xfrm>
        </p:grpSpPr>
        <p:sp>
          <p:nvSpPr>
            <p:cNvPr id="16" name="Ellipse 15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2673959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12,5%</a:t>
              </a:r>
            </a:p>
          </p:txBody>
        </p:sp>
      </p:grpSp>
      <p:sp>
        <p:nvSpPr>
          <p:cNvPr id="18" name="Rectangle 17"/>
          <p:cNvSpPr/>
          <p:nvPr/>
        </p:nvSpPr>
        <p:spPr>
          <a:xfrm>
            <a:off x="633302" y="1407423"/>
            <a:ext cx="619546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1,7 Md€ comportant notamment 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1,1 Md€ pour une revalorisation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en faveur des enseignants au 01/09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(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1,9Md€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 en année pleine) 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fr-FR" sz="1200" dirty="0">
                <a:latin typeface="Marianne" panose="02000000000000000000" pitchFamily="50" charset="0"/>
                <a:ea typeface="Times New Roman" panose="02020603050405020304" pitchFamily="18" charset="0"/>
              </a:rPr>
              <a:t>mesure socle pour tous d’au moins 100€ nets par mois 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fr-FR" sz="1200" dirty="0">
                <a:latin typeface="Marianne" panose="02000000000000000000" pitchFamily="50" charset="0"/>
                <a:ea typeface="Times New Roman" panose="02020603050405020304" pitchFamily="18" charset="0"/>
              </a:rPr>
              <a:t>jusqu’à 300€ nets par mois dans le cadre du PACTE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fr-FR" sz="1200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es AESH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465 M€ pour les ministères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égaliens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 (Armées, Justice, Intérieur)</a:t>
            </a:r>
          </a:p>
          <a:p>
            <a:pPr lvl="1"/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Pour la fonction publique hospitaliè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Chantier sur les sujétions de nuit et de week-end des personnels soignants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xmlns="" val="9016480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"/>
          <p:cNvSpPr txBox="1">
            <a:spLocks/>
          </p:cNvSpPr>
          <p:nvPr/>
        </p:nvSpPr>
        <p:spPr>
          <a:xfrm>
            <a:off x="461066" y="355852"/>
            <a:ext cx="835940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Récapitulatif des mesures annoncées aujourd’hui</a:t>
            </a:r>
          </a:p>
        </p:txBody>
      </p:sp>
      <p:sp>
        <p:nvSpPr>
          <p:cNvPr id="5" name="Rectangle 4"/>
          <p:cNvSpPr/>
          <p:nvPr/>
        </p:nvSpPr>
        <p:spPr>
          <a:xfrm>
            <a:off x="461067" y="1087736"/>
            <a:ext cx="830397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u="sng" dirty="0">
                <a:latin typeface="Marianne" panose="02000000000000000000" pitchFamily="50" charset="0"/>
                <a:ea typeface="Times New Roman" panose="02020603050405020304" pitchFamily="18" charset="0"/>
              </a:rPr>
              <a:t>Trois leviers principaux complémentaire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Mesures indiciaires socle pour tous les agents (2,5%) </a:t>
            </a:r>
            <a:r>
              <a:rPr lang="fr-FR" sz="1100" dirty="0">
                <a:latin typeface="Marianne" panose="02000000000000000000" pitchFamily="50" charset="0"/>
                <a:ea typeface="Times New Roman" panose="02020603050405020304" pitchFamily="18" charset="0"/>
              </a:rPr>
              <a:t>: revalorisation de la valeur du point de 1,5% + attribution de 5 points de chaque échelon </a:t>
            </a: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u point au 1</a:t>
            </a:r>
            <a:r>
              <a:rPr lang="fr-FR" sz="900" i="1" baseline="30000" dirty="0">
                <a:latin typeface="Marianne" panose="02000000000000000000" pitchFamily="50" charset="0"/>
                <a:ea typeface="Times New Roman" panose="02020603050405020304" pitchFamily="18" charset="0"/>
              </a:rPr>
              <a:t>er</a:t>
            </a: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 juillet 2023</a:t>
            </a: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Attribution de 5 points au 1</a:t>
            </a:r>
            <a:r>
              <a:rPr lang="fr-FR" sz="900" i="1" baseline="30000" dirty="0">
                <a:latin typeface="Marianne" panose="02000000000000000000" pitchFamily="50" charset="0"/>
                <a:ea typeface="Times New Roman" panose="02020603050405020304" pitchFamily="18" charset="0"/>
              </a:rPr>
              <a:t>er</a:t>
            </a: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 janvier 2024</a:t>
            </a:r>
          </a:p>
          <a:p>
            <a:pPr algn="just"/>
            <a:endParaRPr lang="fr-FR" sz="11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Prime pouvoir d’achat </a:t>
            </a:r>
            <a:r>
              <a:rPr lang="fr-FR" sz="1100" b="1" u="sng" dirty="0">
                <a:latin typeface="Marianne" panose="02000000000000000000" pitchFamily="50" charset="0"/>
                <a:ea typeface="Times New Roman" panose="02020603050405020304" pitchFamily="18" charset="0"/>
              </a:rPr>
              <a:t>ciblée sur les moyens et bas salaires</a:t>
            </a:r>
            <a:r>
              <a:rPr lang="fr-FR" sz="1100" dirty="0">
                <a:latin typeface="Marianne" panose="02000000000000000000" pitchFamily="50" charset="0"/>
                <a:ea typeface="Times New Roman" panose="02020603050405020304" pitchFamily="18" charset="0"/>
              </a:rPr>
              <a:t> (800€ à 300€ brut, dégressive jusqu’à 3 250€ brut/mois)</a:t>
            </a: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Versement effectif à compter de septembre pour l’Etat et l’hospitalière, selon délibération pour les collectivités</a:t>
            </a:r>
          </a:p>
          <a:p>
            <a:pPr algn="just"/>
            <a:endParaRPr lang="fr-FR" sz="11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 err="1">
                <a:latin typeface="Marianne" panose="02000000000000000000" pitchFamily="50" charset="0"/>
                <a:ea typeface="Times New Roman" panose="02020603050405020304" pitchFamily="18" charset="0"/>
              </a:rPr>
              <a:t>Réhaussement</a:t>
            </a: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 des bas salaires </a:t>
            </a:r>
            <a:r>
              <a:rPr lang="fr-FR" sz="1100" dirty="0">
                <a:latin typeface="Marianne" panose="02000000000000000000" pitchFamily="50" charset="0"/>
                <a:ea typeface="Times New Roman" panose="02020603050405020304" pitchFamily="18" charset="0"/>
              </a:rPr>
              <a:t>: distribution de points pour rééchelonner les premiers échelons au-delà de l’ IMT</a:t>
            </a: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Attribution de 1 à 9 points au 1</a:t>
            </a:r>
            <a:r>
              <a:rPr lang="fr-FR" sz="900" i="1" baseline="30000" dirty="0">
                <a:latin typeface="Marianne" panose="02000000000000000000" pitchFamily="50" charset="0"/>
                <a:ea typeface="Times New Roman" panose="02020603050405020304" pitchFamily="18" charset="0"/>
              </a:rPr>
              <a:t>er</a:t>
            </a: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 juillet 2023</a:t>
            </a:r>
          </a:p>
          <a:p>
            <a:pPr algn="just"/>
            <a:endParaRPr lang="fr-FR" sz="11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algn="just"/>
            <a:endParaRPr lang="fr-FR" sz="2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algn="just"/>
            <a:r>
              <a:rPr lang="fr-FR" sz="1400" b="1" u="sng" dirty="0">
                <a:latin typeface="Marianne" panose="02000000000000000000" pitchFamily="50" charset="0"/>
                <a:ea typeface="Times New Roman" panose="02020603050405020304" pitchFamily="18" charset="0"/>
              </a:rPr>
              <a:t>Des mesures d’accompagnemen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econduction de la GIPA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es frais de mission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Prise en charge des transports collectifs portée de 50 à 75%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e 10% des indemnités forfaitaires des jours de CE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467544" y="1364287"/>
            <a:ext cx="210652" cy="1455323"/>
            <a:chOff x="896825" y="1551112"/>
            <a:chExt cx="210652" cy="1455323"/>
          </a:xfrm>
        </p:grpSpPr>
        <p:sp>
          <p:nvSpPr>
            <p:cNvPr id="2" name="Ellipse 1"/>
            <p:cNvSpPr/>
            <p:nvPr/>
          </p:nvSpPr>
          <p:spPr>
            <a:xfrm>
              <a:off x="896825" y="1551112"/>
              <a:ext cx="191304" cy="191304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1</a:t>
              </a:r>
            </a:p>
          </p:txBody>
        </p:sp>
        <p:sp>
          <p:nvSpPr>
            <p:cNvPr id="6" name="Ellipse 5"/>
            <p:cNvSpPr/>
            <p:nvPr/>
          </p:nvSpPr>
          <p:spPr>
            <a:xfrm>
              <a:off x="916173" y="2287510"/>
              <a:ext cx="191304" cy="191304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2</a:t>
              </a:r>
            </a:p>
          </p:txBody>
        </p:sp>
        <p:sp>
          <p:nvSpPr>
            <p:cNvPr id="7" name="Ellipse 6"/>
            <p:cNvSpPr/>
            <p:nvPr/>
          </p:nvSpPr>
          <p:spPr>
            <a:xfrm>
              <a:off x="916173" y="2815131"/>
              <a:ext cx="191304" cy="191304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3</a:t>
              </a: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467544" y="3322032"/>
            <a:ext cx="191304" cy="1193934"/>
            <a:chOff x="463012" y="3507854"/>
            <a:chExt cx="191304" cy="1193934"/>
          </a:xfrm>
        </p:grpSpPr>
        <p:sp>
          <p:nvSpPr>
            <p:cNvPr id="8" name="Ellipse 7"/>
            <p:cNvSpPr/>
            <p:nvPr/>
          </p:nvSpPr>
          <p:spPr>
            <a:xfrm>
              <a:off x="463012" y="3507854"/>
              <a:ext cx="191304" cy="18941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1</a:t>
              </a:r>
            </a:p>
          </p:txBody>
        </p:sp>
        <p:sp>
          <p:nvSpPr>
            <p:cNvPr id="9" name="Ellipse 8"/>
            <p:cNvSpPr/>
            <p:nvPr/>
          </p:nvSpPr>
          <p:spPr>
            <a:xfrm>
              <a:off x="463012" y="3840801"/>
              <a:ext cx="191304" cy="19130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2</a:t>
              </a:r>
            </a:p>
          </p:txBody>
        </p:sp>
        <p:sp>
          <p:nvSpPr>
            <p:cNvPr id="10" name="Ellipse 9"/>
            <p:cNvSpPr/>
            <p:nvPr/>
          </p:nvSpPr>
          <p:spPr>
            <a:xfrm>
              <a:off x="463012" y="4175642"/>
              <a:ext cx="191304" cy="19130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3</a:t>
              </a:r>
            </a:p>
          </p:txBody>
        </p:sp>
        <p:sp>
          <p:nvSpPr>
            <p:cNvPr id="12" name="Ellipse 11"/>
            <p:cNvSpPr/>
            <p:nvPr/>
          </p:nvSpPr>
          <p:spPr>
            <a:xfrm>
              <a:off x="463012" y="4510484"/>
              <a:ext cx="191304" cy="19130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4</a:t>
              </a:r>
            </a:p>
          </p:txBody>
        </p:sp>
      </p:grpSp>
      <p:sp>
        <p:nvSpPr>
          <p:cNvPr id="13" name="ZoneTexte 12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2</a:t>
            </a:r>
          </a:p>
        </p:txBody>
      </p:sp>
    </p:spTree>
    <p:extLst>
      <p:ext uri="{BB962C8B-B14F-4D97-AF65-F5344CB8AC3E}">
        <p14:creationId xmlns:p14="http://schemas.microsoft.com/office/powerpoint/2010/main" xmlns="" val="29650547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635646"/>
            <a:ext cx="8423918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Prochaines étapes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70865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475656" y="915566"/>
            <a:ext cx="717718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sz="1200" b="1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Juin-juillet 2023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–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décret point d’indice et attribution de 5 points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en Conseil des ministres,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décret d’attribution de points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 pour les bas de grille,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décret prime de pouvoir d’achat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et textes réglementaires de reconduction de la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GIPA</a:t>
            </a:r>
          </a:p>
          <a:p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1er juillet 2023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–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entrée en vigueur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de l’augmentation du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point d’indice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 et des mesures de distribution de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points d’indice bas salaires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.</a:t>
            </a: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Juillet à septembre 2023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 – décrets et arrêtés pour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l’extension de la prise en charge des transports collectifs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, la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revalorisation des frais de mission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, et des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montants forfaitaires de CET</a:t>
            </a: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1</a:t>
            </a:r>
            <a:r>
              <a:rPr lang="fr-FR" sz="1200" b="1" baseline="30000" dirty="0">
                <a:latin typeface="Marianne" panose="02000000000000000000" pitchFamily="2" charset="0"/>
                <a:cs typeface="Calibri" panose="020F0502020204030204" pitchFamily="34" charset="0"/>
              </a:rPr>
              <a:t>er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 janvier 2024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–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entrée en vigueur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de l’attribution de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5 points</a:t>
            </a: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395536" y="195486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a mise en œuvre des mesures à partir de juillet</a:t>
            </a:r>
          </a:p>
        </p:txBody>
      </p:sp>
      <p:cxnSp>
        <p:nvCxnSpPr>
          <p:cNvPr id="6" name="Connecteur droit avec flèche 5"/>
          <p:cNvCxnSpPr/>
          <p:nvPr/>
        </p:nvCxnSpPr>
        <p:spPr>
          <a:xfrm>
            <a:off x="1043608" y="987574"/>
            <a:ext cx="0" cy="3221744"/>
          </a:xfrm>
          <a:prstGeom prst="straightConnector1">
            <a:avLst/>
          </a:prstGeom>
          <a:ln w="38100">
            <a:solidFill>
              <a:srgbClr val="00009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/>
          <p:cNvSpPr/>
          <p:nvPr/>
        </p:nvSpPr>
        <p:spPr>
          <a:xfrm>
            <a:off x="977055" y="1303106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971600" y="2139701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/>
          <p:cNvSpPr/>
          <p:nvPr/>
        </p:nvSpPr>
        <p:spPr>
          <a:xfrm>
            <a:off x="971600" y="2859781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971600" y="3552362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xmlns="" val="33467423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691680" y="1303145"/>
            <a:ext cx="698477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Négociations prévoyance:</a:t>
            </a: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Poursuivies d’ici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l’été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 pour la FPE et la FPT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Initiée à compter de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septembre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 pour la FPH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Lancement à compter de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septembre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 de négociations et de groupes de travail sur :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Le chantier de refonte des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accès, des parcours de carrière et des rémunérations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, en s’appuyant sur un accord de méthode et en approfondissant les conditions du dialogue et de la négociation sur la politique salariale</a:t>
            </a:r>
            <a:endParaRPr lang="fr-FR" sz="1400" b="1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Le programme Fonction publique +, en priorisant sur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l’égalité professionnelle, le logement et les conditions de travai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395536" y="328860"/>
            <a:ext cx="8352928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suivre avec vous les chantiers de la prévoyance et de l’attractivité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4426" y="2859782"/>
            <a:ext cx="758601" cy="758601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3427" y="1303145"/>
            <a:ext cx="759600" cy="75960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xmlns="" val="30023090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8"/>
          <p:cNvGrpSpPr/>
          <p:nvPr/>
        </p:nvGrpSpPr>
        <p:grpSpPr>
          <a:xfrm>
            <a:off x="1475656" y="2948548"/>
            <a:ext cx="1718309" cy="1718309"/>
            <a:chOff x="7236296" y="1675180"/>
            <a:chExt cx="792088" cy="792088"/>
          </a:xfrm>
        </p:grpSpPr>
        <p:sp>
          <p:nvSpPr>
            <p:cNvPr id="10" name="Ellipse 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7241187" y="1901947"/>
              <a:ext cx="782305" cy="383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>
                  <a:latin typeface="Marianne" panose="02000000000000000000" pitchFamily="2" charset="0"/>
                </a:rPr>
                <a:t>+1,5% de point d’indice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Revalorisation effective au </a:t>
              </a:r>
              <a:r>
                <a:rPr lang="fr-FR" sz="1000" b="1" i="1" dirty="0">
                  <a:latin typeface="Marianne" panose="02000000000000000000" pitchFamily="2" charset="0"/>
                </a:rPr>
                <a:t>1</a:t>
              </a:r>
              <a:r>
                <a:rPr lang="fr-FR" sz="1000" b="1" i="1" baseline="30000" dirty="0">
                  <a:latin typeface="Marianne" panose="02000000000000000000" pitchFamily="2" charset="0"/>
                </a:rPr>
                <a:t>er</a:t>
              </a:r>
              <a:r>
                <a:rPr lang="fr-FR" sz="1000" b="1" i="1" dirty="0">
                  <a:latin typeface="Marianne" panose="02000000000000000000" pitchFamily="2" charset="0"/>
                </a:rPr>
                <a:t> juillet 23</a:t>
              </a:r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5873560" y="2938665"/>
            <a:ext cx="1866792" cy="1718309"/>
            <a:chOff x="7202073" y="1675180"/>
            <a:chExt cx="860534" cy="792088"/>
          </a:xfrm>
        </p:grpSpPr>
        <p:sp>
          <p:nvSpPr>
            <p:cNvPr id="17" name="Ellipse 16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7202073" y="1901947"/>
              <a:ext cx="860534" cy="383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>
                  <a:latin typeface="Marianne" panose="02000000000000000000" pitchFamily="2" charset="0"/>
                </a:rPr>
                <a:t>+5pts d’indice attribués à tous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+25€/mois, effectif au </a:t>
              </a:r>
              <a:r>
                <a:rPr lang="fr-FR" sz="1000" b="1" i="1" dirty="0">
                  <a:latin typeface="Marianne" panose="02000000000000000000" pitchFamily="2" charset="0"/>
                </a:rPr>
                <a:t>1</a:t>
              </a:r>
              <a:r>
                <a:rPr lang="fr-FR" sz="1000" b="1" i="1" baseline="30000" dirty="0">
                  <a:latin typeface="Marianne" panose="02000000000000000000" pitchFamily="2" charset="0"/>
                </a:rPr>
                <a:t>er</a:t>
              </a:r>
              <a:r>
                <a:rPr lang="fr-FR" sz="1000" b="1" i="1" dirty="0">
                  <a:latin typeface="Marianne" panose="02000000000000000000" pitchFamily="2" charset="0"/>
                </a:rPr>
                <a:t> janvier 2024</a:t>
              </a:r>
            </a:p>
          </p:txBody>
        </p:sp>
      </p:grpSp>
      <p:grpSp>
        <p:nvGrpSpPr>
          <p:cNvPr id="28" name="Groupe 27"/>
          <p:cNvGrpSpPr/>
          <p:nvPr/>
        </p:nvGrpSpPr>
        <p:grpSpPr>
          <a:xfrm>
            <a:off x="3404353" y="895114"/>
            <a:ext cx="2258818" cy="2079154"/>
            <a:chOff x="7202073" y="1675180"/>
            <a:chExt cx="860534" cy="792088"/>
          </a:xfrm>
        </p:grpSpPr>
        <p:sp>
          <p:nvSpPr>
            <p:cNvPr id="29" name="Ellipse 28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7202073" y="1873850"/>
              <a:ext cx="860534" cy="539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latin typeface="Marianne" panose="02000000000000000000" pitchFamily="2" charset="0"/>
                </a:rPr>
                <a:t>+2,5% progression annuelle indiciaire moyenne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En cumulé au </a:t>
              </a:r>
              <a:r>
                <a:rPr lang="fr-FR" sz="1000" b="1" i="1" dirty="0">
                  <a:latin typeface="Marianne" panose="02000000000000000000" pitchFamily="2" charset="0"/>
                </a:rPr>
                <a:t>1</a:t>
              </a:r>
              <a:r>
                <a:rPr lang="fr-FR" sz="1000" b="1" i="1" baseline="30000" dirty="0">
                  <a:latin typeface="Marianne" panose="02000000000000000000" pitchFamily="2" charset="0"/>
                </a:rPr>
                <a:t>er</a:t>
              </a:r>
              <a:r>
                <a:rPr lang="fr-FR" sz="1000" b="1" i="1" dirty="0">
                  <a:latin typeface="Marianne" panose="02000000000000000000" pitchFamily="2" charset="0"/>
                </a:rPr>
                <a:t> janvier 2024</a:t>
              </a:r>
              <a:endParaRPr lang="fr-FR" sz="1000" b="1" dirty="0">
                <a:latin typeface="Marianne" panose="02000000000000000000" pitchFamily="2" charset="0"/>
              </a:endParaRPr>
            </a:p>
            <a:p>
              <a:pPr algn="ctr"/>
              <a:endParaRPr lang="fr-FR" sz="1600" b="1" dirty="0">
                <a:latin typeface="Marianne" panose="02000000000000000000" pitchFamily="2" charset="0"/>
              </a:endParaRPr>
            </a:p>
            <a:p>
              <a:pPr algn="ctr"/>
              <a:endParaRPr lang="fr-FR" sz="1200" i="1" dirty="0">
                <a:latin typeface="Marianne" panose="02000000000000000000" pitchFamily="2" charset="0"/>
              </a:endParaRPr>
            </a:p>
          </p:txBody>
        </p:sp>
      </p:grpSp>
      <p:sp>
        <p:nvSpPr>
          <p:cNvPr id="19" name="Titre 2"/>
          <p:cNvSpPr txBox="1">
            <a:spLocks/>
          </p:cNvSpPr>
          <p:nvPr/>
        </p:nvSpPr>
        <p:spPr>
          <a:xfrm>
            <a:off x="467544" y="339365"/>
            <a:ext cx="8424863" cy="675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dirty="0">
                <a:latin typeface="Marianne" panose="02000000000000000000" pitchFamily="2" charset="0"/>
              </a:rPr>
              <a:t>Deux mesures indiciaires socle pour tous les agents</a:t>
            </a:r>
            <a:endParaRPr lang="fr-FR" sz="2000" b="0" dirty="0">
              <a:latin typeface="Marianne" panose="02000000000000000000" pitchFamily="2" charset="0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3862864" y="3298705"/>
            <a:ext cx="13417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latin typeface="Marianne" panose="02000000000000000000" pitchFamily="2" charset="0"/>
              </a:rPr>
              <a:t>Soit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xmlns="" val="2122160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419281" y="198702"/>
            <a:ext cx="8143381" cy="689107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altLang="fr-FR" sz="2000" b="1" dirty="0">
              <a:latin typeface="Marianne" panose="02000000000000000000" pitchFamily="50" charset="0"/>
              <a:ea typeface="MS PGothic" panose="020B0600070205080204" pitchFamily="34" charset="-128"/>
              <a:cs typeface="Section-Medium"/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971600" y="847781"/>
            <a:ext cx="1168666" cy="1147905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accent2">
                    <a:lumMod val="75000"/>
                  </a:schemeClr>
                </a:solidFill>
                <a:latin typeface="Marianne" panose="02000000000000000000" pitchFamily="2" charset="0"/>
              </a:rPr>
              <a:t>Jusqu’à </a:t>
            </a:r>
          </a:p>
          <a:p>
            <a:pPr algn="ctr"/>
            <a:r>
              <a:rPr lang="fr-FR" sz="1100" b="1" dirty="0">
                <a:solidFill>
                  <a:schemeClr val="accent2">
                    <a:lumMod val="75000"/>
                  </a:schemeClr>
                </a:solidFill>
                <a:latin typeface="Marianne" panose="02000000000000000000" pitchFamily="2" charset="0"/>
              </a:rPr>
              <a:t>+ 9 points </a:t>
            </a:r>
          </a:p>
          <a:p>
            <a:pPr algn="ctr"/>
            <a:r>
              <a:rPr lang="fr-FR" sz="1100" b="1" i="1" dirty="0">
                <a:latin typeface="Marianne" panose="02000000000000000000" pitchFamily="2" charset="0"/>
              </a:rPr>
              <a:t>d’indice</a:t>
            </a:r>
          </a:p>
          <a:p>
            <a:pPr algn="ctr"/>
            <a:r>
              <a:rPr lang="fr-FR" sz="1100" b="1" i="1" dirty="0">
                <a:latin typeface="Marianne" panose="02000000000000000000" pitchFamily="2" charset="0"/>
              </a:rPr>
              <a:t>(532€)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762487" y="741354"/>
            <a:ext cx="60292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b="1" dirty="0">
                <a:latin typeface="Marianne" panose="02000000000000000000" pitchFamily="2" charset="0"/>
                <a:ea typeface="Times New Roman" panose="02020603050405020304" pitchFamily="18" charset="0"/>
              </a:rPr>
              <a:t>Jusqu’à 9 points d’indices majorés </a:t>
            </a: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supplémentaires pour rétablir la </a:t>
            </a:r>
            <a:r>
              <a:rPr lang="fr-FR" sz="1200" b="1" dirty="0">
                <a:latin typeface="Marianne" panose="02000000000000000000" pitchFamily="2" charset="0"/>
                <a:ea typeface="Times New Roman" panose="02020603050405020304" pitchFamily="18" charset="0"/>
              </a:rPr>
              <a:t>progressivité des rémunérations</a:t>
            </a: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, sur la base du relèvement de l’indice minimum de traitement (IMT) au niveau du SMIC en 202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Un  gain indiciaire entre chaque échelon du bas de la catégorie C et de la catégorie 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384 0</a:t>
            </a:r>
            <a:r>
              <a:rPr lang="fr-FR" sz="1200" dirty="0">
                <a:latin typeface="Marianne" panose="02000000000000000000" pitchFamily="2" charset="0"/>
              </a:rPr>
              <a:t>00 agents dans la FPE, 803 000 dans la FPT et 255 000 dans la FPH</a:t>
            </a:r>
            <a:endParaRPr lang="fr-FR" sz="1200" dirty="0">
              <a:latin typeface="Marianne" panose="02000000000000000000" pitchFamily="2" charset="0"/>
              <a:ea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83568" y="398628"/>
            <a:ext cx="78488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altLang="fr-FR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e mesure spécifique « bas de grille »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838" y="2126349"/>
            <a:ext cx="7522332" cy="2432813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308994" y="832677"/>
            <a:ext cx="216024" cy="1130705"/>
            <a:chOff x="2339752" y="1682362"/>
            <a:chExt cx="216024" cy="1130705"/>
          </a:xfrm>
        </p:grpSpPr>
        <p:cxnSp>
          <p:nvCxnSpPr>
            <p:cNvPr id="18" name="Connecteur droit 17"/>
            <p:cNvCxnSpPr/>
            <p:nvPr/>
          </p:nvCxnSpPr>
          <p:spPr>
            <a:xfrm>
              <a:off x="2447764" y="1682362"/>
              <a:ext cx="0" cy="113070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Ellipse 18"/>
            <p:cNvSpPr/>
            <p:nvPr/>
          </p:nvSpPr>
          <p:spPr>
            <a:xfrm>
              <a:off x="2339752" y="2139702"/>
              <a:ext cx="216024" cy="21602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&gt;</a:t>
              </a:r>
            </a:p>
          </p:txBody>
        </p:sp>
      </p:grpSp>
      <p:sp>
        <p:nvSpPr>
          <p:cNvPr id="15" name="ZoneTexte 14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xmlns="" val="429240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1662354" y="3435846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altLang="fr-FR" sz="2000" b="1" dirty="0">
              <a:latin typeface="Marianne" panose="02000000000000000000" pitchFamily="50" charset="0"/>
              <a:ea typeface="MS PGothic" panose="020B0600070205080204" pitchFamily="34" charset="-128"/>
              <a:cs typeface="Section-Medium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19672" y="1131590"/>
            <a:ext cx="705678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La reprise pour la fonction publique d’un levier de soutien au pouvoir d’achat pratiqué dans le secteur privé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, dans une logique d’équité et d’efficacité, au bénéfice des agents les plus impactés par l’inflation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Une prime dégressive de 800 à 300€ brut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pour les agents percevant une rémunération mensuelle brute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jusqu’à 3 250 €/mois 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Près de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50 % des agents de l’Etat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et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70 % des agents publics hospitaliers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la percevront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Un versement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avant fin 2023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Un outil de politique salariale pour les collectivités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qui souhaiteraient la verser à leurs agents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461066" y="355852"/>
            <a:ext cx="835940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e prime « pouvoir d’achat » pour 50% des agents de la FPE et 70% des agents de la FPH, d’un montant allant jusqu’à 800€ brut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7584" y="2021775"/>
            <a:ext cx="576000" cy="576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7584" y="1217348"/>
            <a:ext cx="576000" cy="576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7584" y="3370097"/>
            <a:ext cx="576000" cy="5760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7584" y="2695936"/>
            <a:ext cx="576000" cy="5760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7584" y="4044257"/>
            <a:ext cx="576000" cy="576000"/>
          </a:xfrm>
          <a:prstGeom prst="rect">
            <a:avLst/>
          </a:prstGeom>
        </p:spPr>
      </p:pic>
      <p:sp>
        <p:nvSpPr>
          <p:cNvPr id="12" name="ZoneTexte 11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xmlns="" val="4087926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>
          <a:xfrm>
            <a:off x="400104" y="355852"/>
            <a:ext cx="799936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En synthèse, un paquet « pouvoir d’achat » inédit pour soutenir notamment le pouvoir d’achat des bas et moyens salaires</a:t>
            </a:r>
          </a:p>
        </p:txBody>
      </p:sp>
      <p:grpSp>
        <p:nvGrpSpPr>
          <p:cNvPr id="8" name="Groupe 7"/>
          <p:cNvGrpSpPr/>
          <p:nvPr/>
        </p:nvGrpSpPr>
        <p:grpSpPr>
          <a:xfrm>
            <a:off x="2742406" y="2255391"/>
            <a:ext cx="1584176" cy="1458173"/>
            <a:chOff x="7202073" y="1675180"/>
            <a:chExt cx="860534" cy="792088"/>
          </a:xfrm>
        </p:grpSpPr>
        <p:sp>
          <p:nvSpPr>
            <p:cNvPr id="9" name="Ellipse 8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7202073" y="1860408"/>
              <a:ext cx="860534" cy="518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chemeClr val="accent2">
                      <a:lumMod val="75000"/>
                    </a:schemeClr>
                  </a:solidFill>
                  <a:latin typeface="Marianne" panose="02000000000000000000" pitchFamily="2" charset="0"/>
                </a:rPr>
                <a:t>800 à 300€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brut en prime « pouvoir d’achat » à la majorité des 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agents</a:t>
              </a:r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676076" y="2255391"/>
            <a:ext cx="1584176" cy="1458173"/>
            <a:chOff x="7202073" y="1675180"/>
            <a:chExt cx="860534" cy="792088"/>
          </a:xfrm>
        </p:grpSpPr>
        <p:sp>
          <p:nvSpPr>
            <p:cNvPr id="12" name="Ellipse 11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7202073" y="1846818"/>
              <a:ext cx="860534" cy="4781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chemeClr val="accent2">
                      <a:lumMod val="75000"/>
                    </a:schemeClr>
                  </a:solidFill>
                  <a:latin typeface="Marianne" panose="02000000000000000000" pitchFamily="2" charset="0"/>
                </a:rPr>
                <a:t>2,5%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de progression indiciaire moyenne en 2 étapes*</a:t>
              </a:r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4729532" y="2255391"/>
            <a:ext cx="1742595" cy="1458173"/>
            <a:chOff x="7159048" y="1675180"/>
            <a:chExt cx="946588" cy="792088"/>
          </a:xfrm>
        </p:grpSpPr>
        <p:sp>
          <p:nvSpPr>
            <p:cNvPr id="15" name="Ellipse 14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7159048" y="1853613"/>
              <a:ext cx="946588" cy="601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rgbClr val="0070C0"/>
                  </a:solidFill>
                  <a:latin typeface="Marianne" panose="02000000000000000000" pitchFamily="2" charset="0"/>
                </a:rPr>
                <a:t>Jusqu’à 13%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de gain de rémunération pour un agent cat C au 2</a:t>
              </a:r>
              <a:r>
                <a:rPr lang="fr-FR" sz="1000" i="1" baseline="30000" dirty="0">
                  <a:latin typeface="Marianne" panose="02000000000000000000" pitchFamily="2" charset="0"/>
                </a:rPr>
                <a:t>nd</a:t>
              </a:r>
              <a:r>
                <a:rPr lang="fr-FR" sz="1000" i="1" dirty="0">
                  <a:latin typeface="Marianne" panose="02000000000000000000" pitchFamily="2" charset="0"/>
                </a:rPr>
                <a:t> semestre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23 vs. janvier 23</a:t>
              </a:r>
            </a:p>
          </p:txBody>
        </p:sp>
      </p:grpSp>
      <p:grpSp>
        <p:nvGrpSpPr>
          <p:cNvPr id="17" name="Groupe 16"/>
          <p:cNvGrpSpPr/>
          <p:nvPr/>
        </p:nvGrpSpPr>
        <p:grpSpPr>
          <a:xfrm>
            <a:off x="6875067" y="2255391"/>
            <a:ext cx="1584176" cy="1458173"/>
            <a:chOff x="7202073" y="1675180"/>
            <a:chExt cx="860534" cy="792088"/>
          </a:xfrm>
        </p:grpSpPr>
        <p:sp>
          <p:nvSpPr>
            <p:cNvPr id="18" name="Ellipse 17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7202073" y="1846818"/>
              <a:ext cx="860534" cy="518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rgbClr val="0070C0"/>
                  </a:solidFill>
                  <a:latin typeface="Marianne" panose="02000000000000000000" pitchFamily="2" charset="0"/>
                </a:rPr>
                <a:t>Jusqu’à 7%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de </a:t>
              </a:r>
              <a:r>
                <a:rPr lang="fr-FR" sz="1000" i="1" u="sng" dirty="0">
                  <a:latin typeface="Marianne" panose="02000000000000000000" pitchFamily="2" charset="0"/>
                </a:rPr>
                <a:t>progression indiciaire</a:t>
              </a:r>
              <a:r>
                <a:rPr lang="fr-FR" sz="1000" i="1" dirty="0">
                  <a:latin typeface="Marianne" panose="02000000000000000000" pitchFamily="2" charset="0"/>
                </a:rPr>
                <a:t> pour un agent cat C en janvier 24 vs. janvier 23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4488283" y="1880493"/>
            <a:ext cx="216024" cy="2203425"/>
            <a:chOff x="2339752" y="1146002"/>
            <a:chExt cx="216024" cy="2203425"/>
          </a:xfrm>
        </p:grpSpPr>
        <p:cxnSp>
          <p:nvCxnSpPr>
            <p:cNvPr id="24" name="Connecteur droit 23"/>
            <p:cNvCxnSpPr/>
            <p:nvPr/>
          </p:nvCxnSpPr>
          <p:spPr>
            <a:xfrm>
              <a:off x="2447764" y="1146002"/>
              <a:ext cx="0" cy="22034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lipse 24"/>
            <p:cNvSpPr/>
            <p:nvPr/>
          </p:nvSpPr>
          <p:spPr>
            <a:xfrm>
              <a:off x="2339752" y="2139702"/>
              <a:ext cx="216024" cy="21602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&gt;</a:t>
              </a:r>
            </a:p>
          </p:txBody>
        </p:sp>
      </p:grpSp>
      <p:sp>
        <p:nvSpPr>
          <p:cNvPr id="26" name="ZoneTexte 25"/>
          <p:cNvSpPr txBox="1"/>
          <p:nvPr/>
        </p:nvSpPr>
        <p:spPr>
          <a:xfrm>
            <a:off x="646022" y="1347614"/>
            <a:ext cx="3772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La combinaison de deux mesures indiciaires et de la prime...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4817313" y="1347614"/>
            <a:ext cx="3772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…pour soutenir en priorité le pouvoir d’achat des bas salaires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23036" y="4568229"/>
            <a:ext cx="41049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>
                <a:latin typeface="Marianne" panose="02000000000000000000" pitchFamily="2" charset="0"/>
              </a:rPr>
              <a:t>* Revalorisation du point et en juillet 2023 et distribution de 5 points en janvier 2024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xmlns="" val="4175815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Titre 2"/>
          <p:cNvSpPr txBox="1">
            <a:spLocks/>
          </p:cNvSpPr>
          <p:nvPr/>
        </p:nvSpPr>
        <p:spPr>
          <a:xfrm>
            <a:off x="467544" y="339365"/>
            <a:ext cx="8424863" cy="675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dirty="0">
                <a:latin typeface="Marianne" panose="02000000000000000000" pitchFamily="2" charset="0"/>
              </a:rPr>
              <a:t>Sur le second semestre 2023, jusqu’à +13% de gain de rémunération pour les plus bas salaires par rapport à janvier </a:t>
            </a:r>
            <a:endParaRPr lang="fr-FR" sz="2000" b="0" dirty="0">
              <a:latin typeface="Marianne" panose="02000000000000000000" pitchFamily="2" charset="0"/>
            </a:endParaRPr>
          </a:p>
        </p:txBody>
      </p:sp>
      <p:sp>
        <p:nvSpPr>
          <p:cNvPr id="178" name="Légende à une bordure 2 177"/>
          <p:cNvSpPr/>
          <p:nvPr/>
        </p:nvSpPr>
        <p:spPr>
          <a:xfrm>
            <a:off x="4517461" y="1542985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977"/>
              <a:gd name="adj6" fmla="val -43644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ugmentation </a:t>
            </a:r>
            <a:r>
              <a:rPr lang="fr-FR" sz="1000" b="1" dirty="0">
                <a:latin typeface="Marianne" panose="02000000000000000000" pitchFamily="2" charset="0"/>
              </a:rPr>
              <a:t>générale</a:t>
            </a:r>
            <a:r>
              <a:rPr lang="fr-FR" sz="1000" dirty="0">
                <a:latin typeface="Marianne" panose="02000000000000000000" pitchFamily="2" charset="0"/>
              </a:rPr>
              <a:t> du </a:t>
            </a:r>
            <a:r>
              <a:rPr lang="fr-FR" sz="1000" b="1" dirty="0">
                <a:latin typeface="Marianne" panose="02000000000000000000" pitchFamily="2" charset="0"/>
              </a:rPr>
              <a:t>point d’indice de 1,5%</a:t>
            </a:r>
            <a:endParaRPr lang="fr-FR" sz="1000" i="1" dirty="0">
              <a:latin typeface="Marianne" panose="02000000000000000000" pitchFamily="2" charset="0"/>
            </a:endParaRPr>
          </a:p>
        </p:txBody>
      </p:sp>
      <p:sp>
        <p:nvSpPr>
          <p:cNvPr id="179" name="Légende à une bordure 2 178"/>
          <p:cNvSpPr/>
          <p:nvPr/>
        </p:nvSpPr>
        <p:spPr>
          <a:xfrm>
            <a:off x="4517461" y="2195010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159"/>
              <a:gd name="adj6" fmla="val -4382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b="1" dirty="0">
                <a:latin typeface="Marianne" panose="02000000000000000000" pitchFamily="2" charset="0"/>
              </a:rPr>
              <a:t>Effet de la prime de 800€ brut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 perçue à compter de septembre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en équivalent mensuel au second semestre</a:t>
            </a:r>
          </a:p>
        </p:txBody>
      </p:sp>
      <p:sp>
        <p:nvSpPr>
          <p:cNvPr id="180" name="Légende à une bordure 2 179"/>
          <p:cNvSpPr/>
          <p:nvPr/>
        </p:nvSpPr>
        <p:spPr>
          <a:xfrm>
            <a:off x="4517461" y="2895405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4795"/>
              <a:gd name="adj6" fmla="val -43465"/>
            </a:avLst>
          </a:prstGeom>
          <a:ln>
            <a:solidFill>
              <a:srgbClr val="21215A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ttribution de </a:t>
            </a:r>
            <a:r>
              <a:rPr lang="fr-FR" sz="1000" b="1" dirty="0">
                <a:latin typeface="Marianne" panose="02000000000000000000" pitchFamily="2" charset="0"/>
              </a:rPr>
              <a:t>points « bas salaires » </a:t>
            </a:r>
            <a:r>
              <a:rPr lang="fr-FR" sz="1000" dirty="0">
                <a:latin typeface="Marianne" panose="02000000000000000000" pitchFamily="2" charset="0"/>
              </a:rPr>
              <a:t>s’ajoutant au </a:t>
            </a:r>
            <a:r>
              <a:rPr lang="fr-FR" sz="1000" b="1" dirty="0">
                <a:latin typeface="Marianne" panose="02000000000000000000" pitchFamily="2" charset="0"/>
              </a:rPr>
              <a:t>relèvement de l’IMT</a:t>
            </a:r>
            <a:endParaRPr lang="fr-FR" sz="1000" dirty="0">
              <a:latin typeface="Marianne" panose="02000000000000000000" pitchFamily="2" charset="0"/>
            </a:endParaRPr>
          </a:p>
        </p:txBody>
      </p:sp>
      <p:grpSp>
        <p:nvGrpSpPr>
          <p:cNvPr id="181" name="Groupe 180"/>
          <p:cNvGrpSpPr/>
          <p:nvPr/>
        </p:nvGrpSpPr>
        <p:grpSpPr>
          <a:xfrm>
            <a:off x="7278943" y="1547251"/>
            <a:ext cx="555526" cy="511340"/>
            <a:chOff x="7202073" y="1675180"/>
            <a:chExt cx="860534" cy="792088"/>
          </a:xfrm>
        </p:grpSpPr>
        <p:sp>
          <p:nvSpPr>
            <p:cNvPr id="182" name="Ellipse 181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3" name="ZoneTexte 182"/>
            <p:cNvSpPr txBox="1"/>
            <p:nvPr/>
          </p:nvSpPr>
          <p:spPr>
            <a:xfrm>
              <a:off x="7202073" y="1901947"/>
              <a:ext cx="860534" cy="347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6€</a:t>
              </a:r>
            </a:p>
          </p:txBody>
        </p:sp>
      </p:grpSp>
      <p:sp>
        <p:nvSpPr>
          <p:cNvPr id="185" name="ZoneTexte 184"/>
          <p:cNvSpPr txBox="1"/>
          <p:nvPr/>
        </p:nvSpPr>
        <p:spPr>
          <a:xfrm>
            <a:off x="6483712" y="940102"/>
            <a:ext cx="2232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latin typeface="Marianne" panose="02000000000000000000" pitchFamily="2" charset="0"/>
              </a:rPr>
              <a:t>Impact moyen brut 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(juillet-déc. 23)</a:t>
            </a:r>
          </a:p>
        </p:txBody>
      </p:sp>
      <p:cxnSp>
        <p:nvCxnSpPr>
          <p:cNvPr id="186" name="Connecteur droit 185"/>
          <p:cNvCxnSpPr/>
          <p:nvPr/>
        </p:nvCxnSpPr>
        <p:spPr>
          <a:xfrm>
            <a:off x="7085757" y="132025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Connecteur droit 202"/>
          <p:cNvCxnSpPr/>
          <p:nvPr/>
        </p:nvCxnSpPr>
        <p:spPr>
          <a:xfrm>
            <a:off x="7085757" y="365556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e 186"/>
          <p:cNvGrpSpPr/>
          <p:nvPr/>
        </p:nvGrpSpPr>
        <p:grpSpPr>
          <a:xfrm>
            <a:off x="7278943" y="2237509"/>
            <a:ext cx="555526" cy="511340"/>
            <a:chOff x="7202073" y="1675180"/>
            <a:chExt cx="860534" cy="792088"/>
          </a:xfrm>
        </p:grpSpPr>
        <p:sp>
          <p:nvSpPr>
            <p:cNvPr id="188" name="Ellipse 187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9" name="ZoneTexte 188"/>
            <p:cNvSpPr txBox="1"/>
            <p:nvPr/>
          </p:nvSpPr>
          <p:spPr>
            <a:xfrm>
              <a:off x="7202073" y="1881929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133€</a:t>
              </a:r>
            </a:p>
          </p:txBody>
        </p:sp>
      </p:grpSp>
      <p:sp>
        <p:nvSpPr>
          <p:cNvPr id="193" name="Rectangle 192"/>
          <p:cNvSpPr/>
          <p:nvPr/>
        </p:nvSpPr>
        <p:spPr>
          <a:xfrm>
            <a:off x="3347864" y="1403141"/>
            <a:ext cx="5256584" cy="3112825"/>
          </a:xfrm>
          <a:prstGeom prst="rect">
            <a:avLst/>
          </a:prstGeom>
          <a:noFill/>
          <a:ln w="6350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96" name="Image 19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736" y="1257661"/>
            <a:ext cx="2323120" cy="32583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7" name="ZoneTexte 196"/>
          <p:cNvSpPr txBox="1"/>
          <p:nvPr/>
        </p:nvSpPr>
        <p:spPr>
          <a:xfrm>
            <a:off x="3426449" y="1299262"/>
            <a:ext cx="3054271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800" i="1" dirty="0">
                <a:latin typeface="Marianne" panose="02000000000000000000" pitchFamily="2" charset="0"/>
              </a:rPr>
              <a:t>Pour un agent gagnant 1 712€ brut/mois (IM 353) en jan. 23</a:t>
            </a:r>
          </a:p>
        </p:txBody>
      </p:sp>
      <p:sp>
        <p:nvSpPr>
          <p:cNvPr id="198" name="ZoneTexte 197"/>
          <p:cNvSpPr txBox="1"/>
          <p:nvPr/>
        </p:nvSpPr>
        <p:spPr>
          <a:xfrm>
            <a:off x="7298046" y="1959921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199" name="Groupe 198"/>
          <p:cNvGrpSpPr/>
          <p:nvPr/>
        </p:nvGrpSpPr>
        <p:grpSpPr>
          <a:xfrm>
            <a:off x="7278943" y="2927767"/>
            <a:ext cx="555526" cy="511340"/>
            <a:chOff x="7202073" y="1675180"/>
            <a:chExt cx="860534" cy="792088"/>
          </a:xfrm>
        </p:grpSpPr>
        <p:sp>
          <p:nvSpPr>
            <p:cNvPr id="200" name="Ellipse 19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1" name="ZoneTexte 200"/>
            <p:cNvSpPr txBox="1"/>
            <p:nvPr/>
          </p:nvSpPr>
          <p:spPr>
            <a:xfrm>
              <a:off x="7202073" y="1901948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69€</a:t>
              </a:r>
            </a:p>
          </p:txBody>
        </p:sp>
      </p:grpSp>
      <p:sp>
        <p:nvSpPr>
          <p:cNvPr id="202" name="ZoneTexte 201"/>
          <p:cNvSpPr txBox="1"/>
          <p:nvPr/>
        </p:nvSpPr>
        <p:spPr>
          <a:xfrm>
            <a:off x="7298046" y="2650179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206" name="Groupe 205"/>
          <p:cNvGrpSpPr/>
          <p:nvPr/>
        </p:nvGrpSpPr>
        <p:grpSpPr>
          <a:xfrm>
            <a:off x="7235770" y="3708046"/>
            <a:ext cx="641873" cy="511339"/>
            <a:chOff x="7147765" y="1675180"/>
            <a:chExt cx="994289" cy="792088"/>
          </a:xfrm>
        </p:grpSpPr>
        <p:sp>
          <p:nvSpPr>
            <p:cNvPr id="207" name="Ellipse 206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8" name="ZoneTexte 207"/>
            <p:cNvSpPr txBox="1"/>
            <p:nvPr/>
          </p:nvSpPr>
          <p:spPr>
            <a:xfrm>
              <a:off x="7147765" y="1853254"/>
              <a:ext cx="994289" cy="429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228€</a:t>
              </a:r>
            </a:p>
          </p:txBody>
        </p:sp>
      </p:grpSp>
      <p:sp>
        <p:nvSpPr>
          <p:cNvPr id="209" name="ZoneTexte 208"/>
          <p:cNvSpPr txBox="1"/>
          <p:nvPr/>
        </p:nvSpPr>
        <p:spPr>
          <a:xfrm>
            <a:off x="6662553" y="4211020"/>
            <a:ext cx="17251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i="1" dirty="0">
                <a:latin typeface="Marianne" panose="02000000000000000000" pitchFamily="2" charset="0"/>
              </a:rPr>
              <a:t>Soit 13% de gain mensuel</a:t>
            </a:r>
          </a:p>
        </p:txBody>
      </p:sp>
      <p:sp>
        <p:nvSpPr>
          <p:cNvPr id="210" name="ZoneTexte 209"/>
          <p:cNvSpPr txBox="1"/>
          <p:nvPr/>
        </p:nvSpPr>
        <p:spPr>
          <a:xfrm>
            <a:off x="7298046" y="3379217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=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5273376" y="3823002"/>
            <a:ext cx="129530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latin typeface="Marianne" panose="02000000000000000000" pitchFamily="2" charset="0"/>
              </a:rPr>
              <a:t>Total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xmlns="" val="3568055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Titre 2"/>
          <p:cNvSpPr txBox="1">
            <a:spLocks/>
          </p:cNvSpPr>
          <p:nvPr/>
        </p:nvSpPr>
        <p:spPr>
          <a:xfrm>
            <a:off x="467544" y="339365"/>
            <a:ext cx="8424863" cy="675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dirty="0">
                <a:latin typeface="Marianne" panose="02000000000000000000" pitchFamily="2" charset="0"/>
              </a:rPr>
              <a:t>Au 1</a:t>
            </a:r>
            <a:r>
              <a:rPr lang="fr-FR" sz="2000" baseline="30000" dirty="0">
                <a:latin typeface="Marianne" panose="02000000000000000000" pitchFamily="2" charset="0"/>
              </a:rPr>
              <a:t>er</a:t>
            </a:r>
            <a:r>
              <a:rPr lang="fr-FR" sz="2000" dirty="0">
                <a:latin typeface="Marianne" panose="02000000000000000000" pitchFamily="2" charset="0"/>
              </a:rPr>
              <a:t> janvier 2024, jusqu’à +7% de gain indiciaire pour </a:t>
            </a:r>
          </a:p>
          <a:p>
            <a:r>
              <a:rPr lang="fr-FR" sz="2000" dirty="0">
                <a:latin typeface="Marianne" panose="02000000000000000000" pitchFamily="2" charset="0"/>
              </a:rPr>
              <a:t>les plus bas salaires sur l’année</a:t>
            </a:r>
            <a:endParaRPr lang="fr-FR" sz="2000" b="0" dirty="0">
              <a:latin typeface="Marianne" panose="02000000000000000000" pitchFamily="2" charset="0"/>
            </a:endParaRPr>
          </a:p>
        </p:txBody>
      </p:sp>
      <p:sp>
        <p:nvSpPr>
          <p:cNvPr id="178" name="Légende à une bordure 2 177"/>
          <p:cNvSpPr/>
          <p:nvPr/>
        </p:nvSpPr>
        <p:spPr>
          <a:xfrm>
            <a:off x="4517461" y="1542985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977"/>
              <a:gd name="adj6" fmla="val -43644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ugmentation </a:t>
            </a:r>
            <a:r>
              <a:rPr lang="fr-FR" sz="1000" b="1" dirty="0">
                <a:latin typeface="Marianne" panose="02000000000000000000" pitchFamily="2" charset="0"/>
              </a:rPr>
              <a:t>générale</a:t>
            </a:r>
            <a:r>
              <a:rPr lang="fr-FR" sz="1000" dirty="0">
                <a:latin typeface="Marianne" panose="02000000000000000000" pitchFamily="2" charset="0"/>
              </a:rPr>
              <a:t> du </a:t>
            </a:r>
            <a:r>
              <a:rPr lang="fr-FR" sz="1000" b="1" dirty="0">
                <a:latin typeface="Marianne" panose="02000000000000000000" pitchFamily="2" charset="0"/>
              </a:rPr>
              <a:t>point d’indice de 1,5%</a:t>
            </a:r>
          </a:p>
        </p:txBody>
      </p:sp>
      <p:sp>
        <p:nvSpPr>
          <p:cNvPr id="179" name="Légende à une bordure 2 178"/>
          <p:cNvSpPr/>
          <p:nvPr/>
        </p:nvSpPr>
        <p:spPr>
          <a:xfrm>
            <a:off x="4517461" y="2211710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159"/>
              <a:gd name="adj6" fmla="val -4382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ttribution de </a:t>
            </a:r>
            <a:r>
              <a:rPr lang="fr-FR" sz="1000" b="1" dirty="0">
                <a:latin typeface="Marianne" panose="02000000000000000000" pitchFamily="2" charset="0"/>
              </a:rPr>
              <a:t>5 points d’indice</a:t>
            </a:r>
          </a:p>
        </p:txBody>
      </p:sp>
      <p:sp>
        <p:nvSpPr>
          <p:cNvPr id="180" name="Légende à une bordure 2 179"/>
          <p:cNvSpPr/>
          <p:nvPr/>
        </p:nvSpPr>
        <p:spPr>
          <a:xfrm>
            <a:off x="4516947" y="2931790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4795"/>
              <a:gd name="adj6" fmla="val -43465"/>
            </a:avLst>
          </a:prstGeom>
          <a:ln>
            <a:solidFill>
              <a:srgbClr val="21215A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ttribution de </a:t>
            </a:r>
            <a:r>
              <a:rPr lang="fr-FR" sz="1000" b="1" dirty="0">
                <a:latin typeface="Marianne" panose="02000000000000000000" pitchFamily="2" charset="0"/>
              </a:rPr>
              <a:t>points « bas salaires » </a:t>
            </a:r>
            <a:r>
              <a:rPr lang="fr-FR" sz="1000" dirty="0">
                <a:latin typeface="Marianne" panose="02000000000000000000" pitchFamily="2" charset="0"/>
              </a:rPr>
              <a:t>s’ajoutant au </a:t>
            </a:r>
            <a:r>
              <a:rPr lang="fr-FR" sz="1000" b="1" dirty="0">
                <a:latin typeface="Marianne" panose="02000000000000000000" pitchFamily="2" charset="0"/>
              </a:rPr>
              <a:t>relèvement de l’IMT</a:t>
            </a:r>
          </a:p>
        </p:txBody>
      </p:sp>
      <p:grpSp>
        <p:nvGrpSpPr>
          <p:cNvPr id="181" name="Groupe 180"/>
          <p:cNvGrpSpPr/>
          <p:nvPr/>
        </p:nvGrpSpPr>
        <p:grpSpPr>
          <a:xfrm>
            <a:off x="7278943" y="1547251"/>
            <a:ext cx="555526" cy="511340"/>
            <a:chOff x="7202073" y="1675180"/>
            <a:chExt cx="860534" cy="792088"/>
          </a:xfrm>
        </p:grpSpPr>
        <p:sp>
          <p:nvSpPr>
            <p:cNvPr id="182" name="Ellipse 181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3" name="ZoneTexte 182"/>
            <p:cNvSpPr txBox="1"/>
            <p:nvPr/>
          </p:nvSpPr>
          <p:spPr>
            <a:xfrm>
              <a:off x="7202073" y="1901948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6€</a:t>
              </a:r>
            </a:p>
          </p:txBody>
        </p:sp>
      </p:grpSp>
      <p:sp>
        <p:nvSpPr>
          <p:cNvPr id="185" name="ZoneTexte 184"/>
          <p:cNvSpPr txBox="1"/>
          <p:nvPr/>
        </p:nvSpPr>
        <p:spPr>
          <a:xfrm>
            <a:off x="6483712" y="940102"/>
            <a:ext cx="2232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latin typeface="Marianne" panose="02000000000000000000" pitchFamily="2" charset="0"/>
              </a:rPr>
              <a:t>Impact moyen brut 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(jan. 24 vs jan. 23)</a:t>
            </a:r>
          </a:p>
        </p:txBody>
      </p:sp>
      <p:cxnSp>
        <p:nvCxnSpPr>
          <p:cNvPr id="186" name="Connecteur droit 185"/>
          <p:cNvCxnSpPr/>
          <p:nvPr/>
        </p:nvCxnSpPr>
        <p:spPr>
          <a:xfrm>
            <a:off x="7085757" y="132025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Connecteur droit 202"/>
          <p:cNvCxnSpPr/>
          <p:nvPr/>
        </p:nvCxnSpPr>
        <p:spPr>
          <a:xfrm>
            <a:off x="7085757" y="365556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e 186"/>
          <p:cNvGrpSpPr/>
          <p:nvPr/>
        </p:nvGrpSpPr>
        <p:grpSpPr>
          <a:xfrm>
            <a:off x="7278943" y="2237509"/>
            <a:ext cx="555526" cy="511340"/>
            <a:chOff x="7202073" y="1675180"/>
            <a:chExt cx="860534" cy="792088"/>
          </a:xfrm>
        </p:grpSpPr>
        <p:sp>
          <p:nvSpPr>
            <p:cNvPr id="188" name="Ellipse 187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9" name="ZoneTexte 188"/>
            <p:cNvSpPr txBox="1"/>
            <p:nvPr/>
          </p:nvSpPr>
          <p:spPr>
            <a:xfrm>
              <a:off x="7202073" y="1881929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5€</a:t>
              </a:r>
            </a:p>
          </p:txBody>
        </p:sp>
      </p:grpSp>
      <p:sp>
        <p:nvSpPr>
          <p:cNvPr id="193" name="Rectangle 192"/>
          <p:cNvSpPr/>
          <p:nvPr/>
        </p:nvSpPr>
        <p:spPr>
          <a:xfrm>
            <a:off x="3347864" y="1403141"/>
            <a:ext cx="5256584" cy="3112825"/>
          </a:xfrm>
          <a:prstGeom prst="rect">
            <a:avLst/>
          </a:prstGeom>
          <a:noFill/>
          <a:ln w="6350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96" name="Image 19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736" y="1257661"/>
            <a:ext cx="2323120" cy="32583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7" name="ZoneTexte 196"/>
          <p:cNvSpPr txBox="1"/>
          <p:nvPr/>
        </p:nvSpPr>
        <p:spPr>
          <a:xfrm>
            <a:off x="3426449" y="1299262"/>
            <a:ext cx="314223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800" i="1" dirty="0">
                <a:latin typeface="Marianne" panose="02000000000000000000" pitchFamily="2" charset="0"/>
              </a:rPr>
              <a:t>Pour un agent gagnant 1 712€ brut/mois (IM 353) en jan. 23</a:t>
            </a:r>
          </a:p>
        </p:txBody>
      </p:sp>
      <p:sp>
        <p:nvSpPr>
          <p:cNvPr id="198" name="ZoneTexte 197"/>
          <p:cNvSpPr txBox="1"/>
          <p:nvPr/>
        </p:nvSpPr>
        <p:spPr>
          <a:xfrm>
            <a:off x="7298046" y="1959921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199" name="Groupe 198"/>
          <p:cNvGrpSpPr/>
          <p:nvPr/>
        </p:nvGrpSpPr>
        <p:grpSpPr>
          <a:xfrm>
            <a:off x="7278943" y="2927767"/>
            <a:ext cx="555526" cy="511340"/>
            <a:chOff x="7202073" y="1675180"/>
            <a:chExt cx="860534" cy="792088"/>
          </a:xfrm>
        </p:grpSpPr>
        <p:sp>
          <p:nvSpPr>
            <p:cNvPr id="200" name="Ellipse 19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1" name="ZoneTexte 200"/>
            <p:cNvSpPr txBox="1"/>
            <p:nvPr/>
          </p:nvSpPr>
          <p:spPr>
            <a:xfrm>
              <a:off x="7202073" y="1901948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69€</a:t>
              </a:r>
            </a:p>
          </p:txBody>
        </p:sp>
      </p:grpSp>
      <p:sp>
        <p:nvSpPr>
          <p:cNvPr id="202" name="ZoneTexte 201"/>
          <p:cNvSpPr txBox="1"/>
          <p:nvPr/>
        </p:nvSpPr>
        <p:spPr>
          <a:xfrm>
            <a:off x="7298046" y="2650179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206" name="Groupe 205"/>
          <p:cNvGrpSpPr/>
          <p:nvPr/>
        </p:nvGrpSpPr>
        <p:grpSpPr>
          <a:xfrm>
            <a:off x="7235770" y="3708046"/>
            <a:ext cx="641873" cy="511339"/>
            <a:chOff x="7147765" y="1675180"/>
            <a:chExt cx="994289" cy="792088"/>
          </a:xfrm>
        </p:grpSpPr>
        <p:sp>
          <p:nvSpPr>
            <p:cNvPr id="207" name="Ellipse 206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8" name="ZoneTexte 207"/>
            <p:cNvSpPr txBox="1"/>
            <p:nvPr/>
          </p:nvSpPr>
          <p:spPr>
            <a:xfrm>
              <a:off x="7147765" y="1853254"/>
              <a:ext cx="994289" cy="429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120€</a:t>
              </a:r>
            </a:p>
          </p:txBody>
        </p:sp>
      </p:grpSp>
      <p:sp>
        <p:nvSpPr>
          <p:cNvPr id="209" name="ZoneTexte 208"/>
          <p:cNvSpPr txBox="1"/>
          <p:nvPr/>
        </p:nvSpPr>
        <p:spPr>
          <a:xfrm>
            <a:off x="6377038" y="4254020"/>
            <a:ext cx="2296197" cy="248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i="1" dirty="0">
                <a:latin typeface="Marianne" panose="02000000000000000000" pitchFamily="2" charset="0"/>
              </a:rPr>
              <a:t>Soit 7% de gain indiciaire mensuel</a:t>
            </a:r>
          </a:p>
        </p:txBody>
      </p:sp>
      <p:sp>
        <p:nvSpPr>
          <p:cNvPr id="210" name="ZoneTexte 209"/>
          <p:cNvSpPr txBox="1"/>
          <p:nvPr/>
        </p:nvSpPr>
        <p:spPr>
          <a:xfrm>
            <a:off x="7298046" y="3379217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=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5273376" y="3823002"/>
            <a:ext cx="129530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latin typeface="Marianne" panose="02000000000000000000" pitchFamily="2" charset="0"/>
              </a:rPr>
              <a:t>Total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xmlns="" val="8261345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xmlns="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635646"/>
            <a:ext cx="8423918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Illustrations de l’impact sur le pouvoir d’achat des agents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27440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89999999999999991118E+00&quot;&gt;&lt;m_msothmcolidx val=&quot;0&quot;/&gt;&lt;m_rgb r=&quot;D2&quot; g=&quot;EB&quot; b=&quot;E1&quot;/&gt;&lt;/elem&gt;&lt;elem m_fUsage=&quot;1.53899999999999992362E+00&quot;&gt;&lt;m_msothmcolidx val=&quot;0&quot;/&gt;&lt;m_rgb r=&quot;98&quot; g=&quot;D3&quot; b=&quot;B9&quot;/&gt;&lt;/elem&gt;&lt;elem m_fUsage=&quot;6.56100000000000127542E-01&quot;&gt;&lt;m_msothmcolidx val=&quot;0&quot;/&gt;&lt;m_rgb r=&quot;8F&quot; g=&quot;80&quot; b=&quot;E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JEsammnSgvLlk0fHKu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XGa.XVIt4Qauj6P5U_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oilLEcad1viIwTaRa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sEO3xFQCPydqX9lmyC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YPrEKE6WprUc96cfV_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MjtaSQyqjKBJpRxCz8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fp4yj_CvMvpGMuyaA8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92rSI0Gg.0ld.JTjgB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_th96k1M_zGDsNaD6c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ZEtVCYwxa4sxSr0rK0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d_.xigzmqPFNpRUBQA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yQZV7R8IX34XnS1BDM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nHk6kF..XJ9ioDTGCMCA"/>
</p:tagLst>
</file>

<file path=ppt/theme/theme1.xml><?xml version="1.0" encoding="utf-8"?>
<a:theme xmlns:a="http://schemas.openxmlformats.org/drawingml/2006/main" name="PREMIER MINISTRE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ésentation3" id="{909F38A1-C682-0443-9F96-C6B31A12C496}" vid="{1D6C4476-8D06-624F-B47C-947A67207A52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36</TotalTime>
  <Words>1785</Words>
  <Application>Microsoft Office PowerPoint</Application>
  <PresentationFormat>Affichage à l'écran (16:9)</PresentationFormat>
  <Paragraphs>303</Paragraphs>
  <Slides>25</Slides>
  <Notes>14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25</vt:i4>
      </vt:variant>
    </vt:vector>
  </HeadingPairs>
  <TitlesOfParts>
    <vt:vector size="26" baseType="lpstr">
      <vt:lpstr>PREMIER MINISTRE</vt:lpstr>
      <vt:lpstr>Diapositive 1</vt:lpstr>
      <vt:lpstr>Diapositive 2</vt:lpstr>
      <vt:lpstr>Diapositive 3</vt:lpstr>
      <vt:lpstr>Diapositive 4</vt:lpstr>
      <vt:lpstr>Diapositive 5</vt:lpstr>
      <vt:lpstr>Diapositive 6</vt:lpstr>
      <vt:lpstr>Diapositive 7</vt:lpstr>
      <vt:lpstr>Diapositive 8</vt:lpstr>
      <vt:lpstr>Diapositive 9</vt:lpstr>
      <vt:lpstr>Diapositive 10</vt:lpstr>
      <vt:lpstr>Diapositive 11</vt:lpstr>
      <vt:lpstr>Diapositive 12</vt:lpstr>
      <vt:lpstr>Diapositive 13</vt:lpstr>
      <vt:lpstr>Diapositive 14</vt:lpstr>
      <vt:lpstr>Diapositive 15</vt:lpstr>
      <vt:lpstr>Diapositive 16</vt:lpstr>
      <vt:lpstr>Diapositive 17</vt:lpstr>
      <vt:lpstr>Diapositive 18</vt:lpstr>
      <vt:lpstr>Diapositive 19</vt:lpstr>
      <vt:lpstr>Diapositive 20</vt:lpstr>
      <vt:lpstr>Diapositive 21</vt:lpstr>
      <vt:lpstr>Diapositive 22</vt:lpstr>
      <vt:lpstr>Diapositive 23</vt:lpstr>
      <vt:lpstr>Diapositive 24</vt:lpstr>
      <vt:lpstr>Diapositive 25</vt:lpstr>
    </vt:vector>
  </TitlesOfParts>
  <Manager>Client</Manager>
  <Company>Secrétariat Généra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TARDIEU Victoria</dc:creator>
  <cp:lastModifiedBy>Alain BAGAGE</cp:lastModifiedBy>
  <cp:revision>835</cp:revision>
  <cp:lastPrinted>2022-06-24T10:01:59Z</cp:lastPrinted>
  <dcterms:created xsi:type="dcterms:W3CDTF">2020-10-20T13:57:32Z</dcterms:created>
  <dcterms:modified xsi:type="dcterms:W3CDTF">2023-06-21T08:51:57Z</dcterms:modified>
</cp:coreProperties>
</file>